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78" r:id="rId4"/>
  </p:sldMasterIdLst>
  <p:notesMasterIdLst>
    <p:notesMasterId r:id="rId11"/>
  </p:notesMasterIdLst>
  <p:sldIdLst>
    <p:sldId id="402" r:id="rId5"/>
    <p:sldId id="2142533369" r:id="rId6"/>
    <p:sldId id="2142533371" r:id="rId7"/>
    <p:sldId id="2142533370" r:id="rId8"/>
    <p:sldId id="2142533279" r:id="rId9"/>
    <p:sldId id="2142533373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san, Ragav (CA - Toronto)" initials="VR(-T" lastIdx="9" clrIdx="0">
    <p:extLst>
      <p:ext uri="{19B8F6BF-5375-455C-9EA6-DF929625EA0E}">
        <p15:presenceInfo xmlns:p15="http://schemas.microsoft.com/office/powerpoint/2012/main" userId="Vasan, Ragav (CA - Toronto)" providerId="None"/>
      </p:ext>
    </p:extLst>
  </p:cmAuthor>
  <p:cmAuthor id="2" name="Trikha, Mrinal" initials="TM" lastIdx="1" clrIdx="1">
    <p:extLst>
      <p:ext uri="{19B8F6BF-5375-455C-9EA6-DF929625EA0E}">
        <p15:presenceInfo xmlns:p15="http://schemas.microsoft.com/office/powerpoint/2012/main" userId="S::mrtrikha@deloitte.ca::ed915eee-6566-411c-abae-f143354747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BBBB"/>
    <a:srgbClr val="FFFFFF"/>
    <a:srgbClr val="FFE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2D2083-E2C2-4CB6-9D70-C3E9DE945B76}" v="611" dt="2022-08-10T21:34:22.2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922" autoAdjust="0"/>
  </p:normalViewPr>
  <p:slideViewPr>
    <p:cSldViewPr snapToGrid="0">
      <p:cViewPr varScale="1">
        <p:scale>
          <a:sx n="92" d="100"/>
          <a:sy n="92" d="100"/>
        </p:scale>
        <p:origin x="12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an, Ragav" userId="50fead7d-cb22-40c8-94a0-500bf7abcf25" providerId="ADAL" clId="{9A0B6EAF-A57D-4D3B-A19C-97E23A9CE8CC}"/>
    <pc:docChg chg="custSel modSld">
      <pc:chgData name="Vasan, Ragav" userId="50fead7d-cb22-40c8-94a0-500bf7abcf25" providerId="ADAL" clId="{9A0B6EAF-A57D-4D3B-A19C-97E23A9CE8CC}" dt="2022-06-03T17:56:52.168" v="433" actId="20577"/>
      <pc:docMkLst>
        <pc:docMk/>
      </pc:docMkLst>
      <pc:sldChg chg="modSp mod">
        <pc:chgData name="Vasan, Ragav" userId="50fead7d-cb22-40c8-94a0-500bf7abcf25" providerId="ADAL" clId="{9A0B6EAF-A57D-4D3B-A19C-97E23A9CE8CC}" dt="2022-06-03T03:24:58.679" v="1" actId="20577"/>
        <pc:sldMkLst>
          <pc:docMk/>
          <pc:sldMk cId="3984577434" sldId="402"/>
        </pc:sldMkLst>
        <pc:spChg chg="mod">
          <ac:chgData name="Vasan, Ragav" userId="50fead7d-cb22-40c8-94a0-500bf7abcf25" providerId="ADAL" clId="{9A0B6EAF-A57D-4D3B-A19C-97E23A9CE8CC}" dt="2022-06-03T03:24:58.679" v="1" actId="20577"/>
          <ac:spMkLst>
            <pc:docMk/>
            <pc:sldMk cId="3984577434" sldId="402"/>
            <ac:spMk id="6" creationId="{B17CD2C9-81C0-430E-9EFD-EDFA0861E223}"/>
          </ac:spMkLst>
        </pc:spChg>
      </pc:sldChg>
      <pc:sldChg chg="modSp mod">
        <pc:chgData name="Vasan, Ragav" userId="50fead7d-cb22-40c8-94a0-500bf7abcf25" providerId="ADAL" clId="{9A0B6EAF-A57D-4D3B-A19C-97E23A9CE8CC}" dt="2022-06-03T17:52:42.739" v="426" actId="1076"/>
        <pc:sldMkLst>
          <pc:docMk/>
          <pc:sldMk cId="3297000900" sldId="7962"/>
        </pc:sldMkLst>
        <pc:spChg chg="mod">
          <ac:chgData name="Vasan, Ragav" userId="50fead7d-cb22-40c8-94a0-500bf7abcf25" providerId="ADAL" clId="{9A0B6EAF-A57D-4D3B-A19C-97E23A9CE8CC}" dt="2022-06-03T03:25:22.238" v="5" actId="6549"/>
          <ac:spMkLst>
            <pc:docMk/>
            <pc:sldMk cId="3297000900" sldId="7962"/>
            <ac:spMk id="96" creationId="{9132E76E-B215-472B-B65D-D92DE173C45E}"/>
          </ac:spMkLst>
        </pc:spChg>
        <pc:spChg chg="mod">
          <ac:chgData name="Vasan, Ragav" userId="50fead7d-cb22-40c8-94a0-500bf7abcf25" providerId="ADAL" clId="{9A0B6EAF-A57D-4D3B-A19C-97E23A9CE8CC}" dt="2022-06-03T03:25:41.656" v="28" actId="6549"/>
          <ac:spMkLst>
            <pc:docMk/>
            <pc:sldMk cId="3297000900" sldId="7962"/>
            <ac:spMk id="98" creationId="{8D97C434-213F-4780-8F7F-97350AA321D0}"/>
          </ac:spMkLst>
        </pc:spChg>
        <pc:graphicFrameChg chg="mod modGraphic">
          <ac:chgData name="Vasan, Ragav" userId="50fead7d-cb22-40c8-94a0-500bf7abcf25" providerId="ADAL" clId="{9A0B6EAF-A57D-4D3B-A19C-97E23A9CE8CC}" dt="2022-06-03T17:52:42.739" v="426" actId="1076"/>
          <ac:graphicFrameMkLst>
            <pc:docMk/>
            <pc:sldMk cId="3297000900" sldId="7962"/>
            <ac:graphicFrameMk id="97" creationId="{43A14A9F-5065-4D8F-98A1-FA83911B451E}"/>
          </ac:graphicFrameMkLst>
        </pc:graphicFrameChg>
      </pc:sldChg>
      <pc:sldChg chg="modSp mod addCm modCm">
        <pc:chgData name="Vasan, Ragav" userId="50fead7d-cb22-40c8-94a0-500bf7abcf25" providerId="ADAL" clId="{9A0B6EAF-A57D-4D3B-A19C-97E23A9CE8CC}" dt="2022-06-03T03:40:58.954" v="149" actId="20577"/>
        <pc:sldMkLst>
          <pc:docMk/>
          <pc:sldMk cId="735498514" sldId="2142533272"/>
        </pc:sldMkLst>
        <pc:spChg chg="mod">
          <ac:chgData name="Vasan, Ragav" userId="50fead7d-cb22-40c8-94a0-500bf7abcf25" providerId="ADAL" clId="{9A0B6EAF-A57D-4D3B-A19C-97E23A9CE8CC}" dt="2022-06-03T03:40:58.954" v="149" actId="20577"/>
          <ac:spMkLst>
            <pc:docMk/>
            <pc:sldMk cId="735498514" sldId="2142533272"/>
            <ac:spMk id="39" creationId="{2E21F611-8CC0-4287-9741-9624C00534D3}"/>
          </ac:spMkLst>
        </pc:spChg>
      </pc:sldChg>
      <pc:sldChg chg="modSp mod">
        <pc:chgData name="Vasan, Ragav" userId="50fead7d-cb22-40c8-94a0-500bf7abcf25" providerId="ADAL" clId="{9A0B6EAF-A57D-4D3B-A19C-97E23A9CE8CC}" dt="2022-06-03T05:19:50.076" v="384" actId="1076"/>
        <pc:sldMkLst>
          <pc:docMk/>
          <pc:sldMk cId="1709288386" sldId="2142533279"/>
        </pc:sldMkLst>
        <pc:picChg chg="mod">
          <ac:chgData name="Vasan, Ragav" userId="50fead7d-cb22-40c8-94a0-500bf7abcf25" providerId="ADAL" clId="{9A0B6EAF-A57D-4D3B-A19C-97E23A9CE8CC}" dt="2022-06-03T05:19:36.649" v="382" actId="208"/>
          <ac:picMkLst>
            <pc:docMk/>
            <pc:sldMk cId="1709288386" sldId="2142533279"/>
            <ac:picMk id="6" creationId="{E7A9FCE8-8160-450B-AEF7-4C5453070E9B}"/>
          </ac:picMkLst>
        </pc:picChg>
        <pc:picChg chg="mod">
          <ac:chgData name="Vasan, Ragav" userId="50fead7d-cb22-40c8-94a0-500bf7abcf25" providerId="ADAL" clId="{9A0B6EAF-A57D-4D3B-A19C-97E23A9CE8CC}" dt="2022-06-03T05:19:36.649" v="382" actId="208"/>
          <ac:picMkLst>
            <pc:docMk/>
            <pc:sldMk cId="1709288386" sldId="2142533279"/>
            <ac:picMk id="24" creationId="{51618638-C220-49D3-BF13-2AC1061E70AC}"/>
          </ac:picMkLst>
        </pc:picChg>
        <pc:picChg chg="mod">
          <ac:chgData name="Vasan, Ragav" userId="50fead7d-cb22-40c8-94a0-500bf7abcf25" providerId="ADAL" clId="{9A0B6EAF-A57D-4D3B-A19C-97E23A9CE8CC}" dt="2022-06-03T05:19:50.076" v="384" actId="1076"/>
          <ac:picMkLst>
            <pc:docMk/>
            <pc:sldMk cId="1709288386" sldId="2142533279"/>
            <ac:picMk id="26" creationId="{FE193C28-5A1A-47A3-BC59-2A1CF1A8C897}"/>
          </ac:picMkLst>
        </pc:picChg>
        <pc:picChg chg="mod">
          <ac:chgData name="Vasan, Ragav" userId="50fead7d-cb22-40c8-94a0-500bf7abcf25" providerId="ADAL" clId="{9A0B6EAF-A57D-4D3B-A19C-97E23A9CE8CC}" dt="2022-06-03T05:19:44.786" v="383" actId="1076"/>
          <ac:picMkLst>
            <pc:docMk/>
            <pc:sldMk cId="1709288386" sldId="2142533279"/>
            <ac:picMk id="28" creationId="{3D282937-2BC5-42E2-8D20-E4391A678AE6}"/>
          </ac:picMkLst>
        </pc:picChg>
        <pc:picChg chg="mod">
          <ac:chgData name="Vasan, Ragav" userId="50fead7d-cb22-40c8-94a0-500bf7abcf25" providerId="ADAL" clId="{9A0B6EAF-A57D-4D3B-A19C-97E23A9CE8CC}" dt="2022-06-03T05:19:36.649" v="382" actId="208"/>
          <ac:picMkLst>
            <pc:docMk/>
            <pc:sldMk cId="1709288386" sldId="2142533279"/>
            <ac:picMk id="30" creationId="{FD23BC30-2719-4EF7-AB4E-C6B4E01FE4A9}"/>
          </ac:picMkLst>
        </pc:picChg>
      </pc:sldChg>
      <pc:sldChg chg="modSp mod addCm modCm">
        <pc:chgData name="Vasan, Ragav" userId="50fead7d-cb22-40c8-94a0-500bf7abcf25" providerId="ADAL" clId="{9A0B6EAF-A57D-4D3B-A19C-97E23A9CE8CC}" dt="2022-06-03T17:56:52.168" v="433" actId="20577"/>
        <pc:sldMkLst>
          <pc:docMk/>
          <pc:sldMk cId="2761477618" sldId="2142533359"/>
        </pc:sldMkLst>
        <pc:graphicFrameChg chg="modGraphic">
          <ac:chgData name="Vasan, Ragav" userId="50fead7d-cb22-40c8-94a0-500bf7abcf25" providerId="ADAL" clId="{9A0B6EAF-A57D-4D3B-A19C-97E23A9CE8CC}" dt="2022-06-03T17:56:52.168" v="433" actId="20577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</pc:sldChg>
      <pc:sldChg chg="modSp mod addCm delCm modCm">
        <pc:chgData name="Vasan, Ragav" userId="50fead7d-cb22-40c8-94a0-500bf7abcf25" providerId="ADAL" clId="{9A0B6EAF-A57D-4D3B-A19C-97E23A9CE8CC}" dt="2022-06-03T17:56:34.742" v="427" actId="554"/>
        <pc:sldMkLst>
          <pc:docMk/>
          <pc:sldMk cId="3219653398" sldId="2142533367"/>
        </pc:sldMkLst>
        <pc:spChg chg="mod">
          <ac:chgData name="Vasan, Ragav" userId="50fead7d-cb22-40c8-94a0-500bf7abcf25" providerId="ADAL" clId="{9A0B6EAF-A57D-4D3B-A19C-97E23A9CE8CC}" dt="2022-06-03T17:56:34.742" v="427" actId="554"/>
          <ac:spMkLst>
            <pc:docMk/>
            <pc:sldMk cId="3219653398" sldId="2142533367"/>
            <ac:spMk id="90" creationId="{D11FADE8-2414-457C-87A5-264D97C007FF}"/>
          </ac:spMkLst>
        </pc:spChg>
        <pc:spChg chg="mod">
          <ac:chgData name="Vasan, Ragav" userId="50fead7d-cb22-40c8-94a0-500bf7abcf25" providerId="ADAL" clId="{9A0B6EAF-A57D-4D3B-A19C-97E23A9CE8CC}" dt="2022-06-03T03:26:01.035" v="32" actId="20577"/>
          <ac:spMkLst>
            <pc:docMk/>
            <pc:sldMk cId="3219653398" sldId="2142533367"/>
            <ac:spMk id="95" creationId="{C7B1B1C6-2893-45F8-B905-E5F9B8DE0036}"/>
          </ac:spMkLst>
        </pc:spChg>
        <pc:spChg chg="mod">
          <ac:chgData name="Vasan, Ragav" userId="50fead7d-cb22-40c8-94a0-500bf7abcf25" providerId="ADAL" clId="{9A0B6EAF-A57D-4D3B-A19C-97E23A9CE8CC}" dt="2022-06-03T17:56:34.742" v="427" actId="554"/>
          <ac:spMkLst>
            <pc:docMk/>
            <pc:sldMk cId="3219653398" sldId="2142533367"/>
            <ac:spMk id="97" creationId="{04EFA14B-658F-438B-977E-BCF9A5389546}"/>
          </ac:spMkLst>
        </pc:spChg>
        <pc:spChg chg="mod">
          <ac:chgData name="Vasan, Ragav" userId="50fead7d-cb22-40c8-94a0-500bf7abcf25" providerId="ADAL" clId="{9A0B6EAF-A57D-4D3B-A19C-97E23A9CE8CC}" dt="2022-06-03T17:56:34.742" v="427" actId="554"/>
          <ac:spMkLst>
            <pc:docMk/>
            <pc:sldMk cId="3219653398" sldId="2142533367"/>
            <ac:spMk id="98" creationId="{F8EF1283-8406-41B4-998D-6E47D292C7C1}"/>
          </ac:spMkLst>
        </pc:spChg>
      </pc:sldChg>
    </pc:docChg>
  </pc:docChgLst>
  <pc:docChgLst>
    <pc:chgData name="An, Andi" userId="7d8fd2d9-15e6-42a9-b3d3-ab6005dbdb91" providerId="ADAL" clId="{E3CFCD4E-B6F2-4109-ABFB-658541FAC6E7}"/>
    <pc:docChg chg="undo custSel addSld delSld modSld sldOrd delMainMaster modMainMaster">
      <pc:chgData name="An, Andi" userId="7d8fd2d9-15e6-42a9-b3d3-ab6005dbdb91" providerId="ADAL" clId="{E3CFCD4E-B6F2-4109-ABFB-658541FAC6E7}" dt="2022-06-10T05:04:32.158" v="2558" actId="20577"/>
      <pc:docMkLst>
        <pc:docMk/>
      </pc:docMkLst>
      <pc:sldChg chg="addSp delSp modSp mod modNotesTx">
        <pc:chgData name="An, Andi" userId="7d8fd2d9-15e6-42a9-b3d3-ab6005dbdb91" providerId="ADAL" clId="{E3CFCD4E-B6F2-4109-ABFB-658541FAC6E7}" dt="2022-06-10T04:55:39.724" v="2543" actId="20577"/>
        <pc:sldMkLst>
          <pc:docMk/>
          <pc:sldMk cId="3984577434" sldId="402"/>
        </pc:sldMkLst>
        <pc:spChg chg="mod">
          <ac:chgData name="An, Andi" userId="7d8fd2d9-15e6-42a9-b3d3-ab6005dbdb91" providerId="ADAL" clId="{E3CFCD4E-B6F2-4109-ABFB-658541FAC6E7}" dt="2022-06-05T16:12:45.101" v="46" actId="20577"/>
          <ac:spMkLst>
            <pc:docMk/>
            <pc:sldMk cId="3984577434" sldId="402"/>
            <ac:spMk id="5" creationId="{075BF7A9-326A-4B8D-9F4C-B882EF07B74E}"/>
          </ac:spMkLst>
        </pc:spChg>
        <pc:spChg chg="mod">
          <ac:chgData name="An, Andi" userId="7d8fd2d9-15e6-42a9-b3d3-ab6005dbdb91" providerId="ADAL" clId="{E3CFCD4E-B6F2-4109-ABFB-658541FAC6E7}" dt="2022-06-05T16:13:15.959" v="83" actId="20577"/>
          <ac:spMkLst>
            <pc:docMk/>
            <pc:sldMk cId="3984577434" sldId="402"/>
            <ac:spMk id="6" creationId="{B17CD2C9-81C0-430E-9EFD-EDFA0861E223}"/>
          </ac:spMkLst>
        </pc:spChg>
        <pc:spChg chg="add del mod">
          <ac:chgData name="An, Andi" userId="7d8fd2d9-15e6-42a9-b3d3-ab6005dbdb91" providerId="ADAL" clId="{E3CFCD4E-B6F2-4109-ABFB-658541FAC6E7}" dt="2022-06-05T16:11:06.277" v="12" actId="478"/>
          <ac:spMkLst>
            <pc:docMk/>
            <pc:sldMk cId="3984577434" sldId="402"/>
            <ac:spMk id="11" creationId="{602923E8-2E62-4200-8B8C-03EF19E1D894}"/>
          </ac:spMkLst>
        </pc:spChg>
        <pc:picChg chg="add del">
          <ac:chgData name="An, Andi" userId="7d8fd2d9-15e6-42a9-b3d3-ab6005dbdb91" providerId="ADAL" clId="{E3CFCD4E-B6F2-4109-ABFB-658541FAC6E7}" dt="2022-06-05T16:07:17.706" v="4" actId="21"/>
          <ac:picMkLst>
            <pc:docMk/>
            <pc:sldMk cId="3984577434" sldId="402"/>
            <ac:picMk id="3" creationId="{D4DF3D66-0B77-4652-8C85-81150A2F7832}"/>
          </ac:picMkLst>
        </pc:picChg>
        <pc:picChg chg="del mod">
          <ac:chgData name="An, Andi" userId="7d8fd2d9-15e6-42a9-b3d3-ab6005dbdb91" providerId="ADAL" clId="{E3CFCD4E-B6F2-4109-ABFB-658541FAC6E7}" dt="2022-06-05T16:11:03.904" v="11" actId="478"/>
          <ac:picMkLst>
            <pc:docMk/>
            <pc:sldMk cId="3984577434" sldId="402"/>
            <ac:picMk id="7" creationId="{1DDF738B-8FFE-41C9-B0FB-2FD9C622F092}"/>
          </ac:picMkLst>
        </pc:picChg>
        <pc:picChg chg="del mod">
          <ac:chgData name="An, Andi" userId="7d8fd2d9-15e6-42a9-b3d3-ab6005dbdb91" providerId="ADAL" clId="{E3CFCD4E-B6F2-4109-ABFB-658541FAC6E7}" dt="2022-06-05T16:10:59.961" v="8" actId="478"/>
          <ac:picMkLst>
            <pc:docMk/>
            <pc:sldMk cId="3984577434" sldId="402"/>
            <ac:picMk id="8" creationId="{FD25036A-703F-4060-8EDF-47249C300310}"/>
          </ac:picMkLst>
        </pc:picChg>
        <pc:picChg chg="add del mod">
          <ac:chgData name="An, Andi" userId="7d8fd2d9-15e6-42a9-b3d3-ab6005dbdb91" providerId="ADAL" clId="{E3CFCD4E-B6F2-4109-ABFB-658541FAC6E7}" dt="2022-06-05T16:12:25.897" v="18" actId="478"/>
          <ac:picMkLst>
            <pc:docMk/>
            <pc:sldMk cId="3984577434" sldId="402"/>
            <ac:picMk id="9" creationId="{EDF07B39-C7B3-4D9D-82DC-5BC21F151B2C}"/>
          </ac:picMkLst>
        </pc:picChg>
        <pc:picChg chg="add mod ord">
          <ac:chgData name="An, Andi" userId="7d8fd2d9-15e6-42a9-b3d3-ab6005dbdb91" providerId="ADAL" clId="{E3CFCD4E-B6F2-4109-ABFB-658541FAC6E7}" dt="2022-06-05T16:38:30.164" v="558" actId="1076"/>
          <ac:picMkLst>
            <pc:docMk/>
            <pc:sldMk cId="3984577434" sldId="402"/>
            <ac:picMk id="13" creationId="{D5668887-171A-4994-A0EB-6C3503A3C8E7}"/>
          </ac:picMkLst>
        </pc:picChg>
        <pc:picChg chg="add del mod">
          <ac:chgData name="An, Andi" userId="7d8fd2d9-15e6-42a9-b3d3-ab6005dbdb91" providerId="ADAL" clId="{E3CFCD4E-B6F2-4109-ABFB-658541FAC6E7}" dt="2022-06-05T16:38:27.090" v="557" actId="478"/>
          <ac:picMkLst>
            <pc:docMk/>
            <pc:sldMk cId="3984577434" sldId="402"/>
            <ac:picMk id="14" creationId="{23803C9F-E5AA-430C-9BDA-294A7F7930CD}"/>
          </ac:picMkLst>
        </pc:picChg>
      </pc:sldChg>
      <pc:sldChg chg="addSp delSp modSp del mod">
        <pc:chgData name="An, Andi" userId="7d8fd2d9-15e6-42a9-b3d3-ab6005dbdb91" providerId="ADAL" clId="{E3CFCD4E-B6F2-4109-ABFB-658541FAC6E7}" dt="2022-06-05T16:24:18.912" v="356" actId="47"/>
        <pc:sldMkLst>
          <pc:docMk/>
          <pc:sldMk cId="3297000900" sldId="7962"/>
        </pc:sldMkLst>
        <pc:spChg chg="add del">
          <ac:chgData name="An, Andi" userId="7d8fd2d9-15e6-42a9-b3d3-ab6005dbdb91" providerId="ADAL" clId="{E3CFCD4E-B6F2-4109-ABFB-658541FAC6E7}" dt="2022-06-05T16:14:32.301" v="101" actId="478"/>
          <ac:spMkLst>
            <pc:docMk/>
            <pc:sldMk cId="3297000900" sldId="7962"/>
            <ac:spMk id="8" creationId="{44FB58BA-F1D5-4F7E-AE80-262B1F75570A}"/>
          </ac:spMkLst>
        </pc:spChg>
        <pc:spChg chg="mod">
          <ac:chgData name="An, Andi" userId="7d8fd2d9-15e6-42a9-b3d3-ab6005dbdb91" providerId="ADAL" clId="{E3CFCD4E-B6F2-4109-ABFB-658541FAC6E7}" dt="2022-06-05T16:20:59.566" v="257" actId="20577"/>
          <ac:spMkLst>
            <pc:docMk/>
            <pc:sldMk cId="3297000900" sldId="7962"/>
            <ac:spMk id="96" creationId="{9132E76E-B215-472B-B65D-D92DE173C45E}"/>
          </ac:spMkLst>
        </pc:spChg>
        <pc:spChg chg="mod">
          <ac:chgData name="An, Andi" userId="7d8fd2d9-15e6-42a9-b3d3-ab6005dbdb91" providerId="ADAL" clId="{E3CFCD4E-B6F2-4109-ABFB-658541FAC6E7}" dt="2022-06-05T16:21:24.101" v="324" actId="20577"/>
          <ac:spMkLst>
            <pc:docMk/>
            <pc:sldMk cId="3297000900" sldId="7962"/>
            <ac:spMk id="98" creationId="{8D97C434-213F-4780-8F7F-97350AA321D0}"/>
          </ac:spMkLst>
        </pc:spChg>
        <pc:graphicFrameChg chg="mod modGraphic">
          <ac:chgData name="An, Andi" userId="7d8fd2d9-15e6-42a9-b3d3-ab6005dbdb91" providerId="ADAL" clId="{E3CFCD4E-B6F2-4109-ABFB-658541FAC6E7}" dt="2022-06-05T16:19:33.836" v="231" actId="20577"/>
          <ac:graphicFrameMkLst>
            <pc:docMk/>
            <pc:sldMk cId="3297000900" sldId="7962"/>
            <ac:graphicFrameMk id="97" creationId="{43A14A9F-5065-4D8F-98A1-FA83911B451E}"/>
          </ac:graphicFrameMkLst>
        </pc:graphicFrameChg>
      </pc:sldChg>
      <pc:sldChg chg="modSp del mod">
        <pc:chgData name="An, Andi" userId="7d8fd2d9-15e6-42a9-b3d3-ab6005dbdb91" providerId="ADAL" clId="{E3CFCD4E-B6F2-4109-ABFB-658541FAC6E7}" dt="2022-06-05T16:57:46.475" v="2356" actId="47"/>
        <pc:sldMkLst>
          <pc:docMk/>
          <pc:sldMk cId="735498514" sldId="2142533272"/>
        </pc:sldMkLst>
        <pc:spChg chg="mod">
          <ac:chgData name="An, Andi" userId="7d8fd2d9-15e6-42a9-b3d3-ab6005dbdb91" providerId="ADAL" clId="{E3CFCD4E-B6F2-4109-ABFB-658541FAC6E7}" dt="2022-06-05T16:55:17.574" v="2028" actId="108"/>
          <ac:spMkLst>
            <pc:docMk/>
            <pc:sldMk cId="735498514" sldId="2142533272"/>
            <ac:spMk id="39" creationId="{2E21F611-8CC0-4287-9741-9624C00534D3}"/>
          </ac:spMkLst>
        </pc:spChg>
        <pc:spChg chg="mod">
          <ac:chgData name="An, Andi" userId="7d8fd2d9-15e6-42a9-b3d3-ab6005dbdb91" providerId="ADAL" clId="{E3CFCD4E-B6F2-4109-ABFB-658541FAC6E7}" dt="2022-06-05T16:38:03.634" v="551"/>
          <ac:spMkLst>
            <pc:docMk/>
            <pc:sldMk cId="735498514" sldId="2142533272"/>
            <ac:spMk id="95" creationId="{C7B1B1C6-2893-45F8-B905-E5F9B8DE0036}"/>
          </ac:spMkLst>
        </pc:spChg>
      </pc:sldChg>
      <pc:sldChg chg="addSp delSp modSp mod">
        <pc:chgData name="An, Andi" userId="7d8fd2d9-15e6-42a9-b3d3-ab6005dbdb91" providerId="ADAL" clId="{E3CFCD4E-B6F2-4109-ABFB-658541FAC6E7}" dt="2022-06-05T16:43:17.574" v="594" actId="20577"/>
        <pc:sldMkLst>
          <pc:docMk/>
          <pc:sldMk cId="1709288386" sldId="2142533279"/>
        </pc:sldMkLst>
        <pc:spChg chg="mod">
          <ac:chgData name="An, Andi" userId="7d8fd2d9-15e6-42a9-b3d3-ab6005dbdb91" providerId="ADAL" clId="{E3CFCD4E-B6F2-4109-ABFB-658541FAC6E7}" dt="2022-06-05T16:43:17.574" v="594" actId="20577"/>
          <ac:spMkLst>
            <pc:docMk/>
            <pc:sldMk cId="1709288386" sldId="2142533279"/>
            <ac:spMk id="2" creationId="{37FB7C6E-1103-4082-BA6C-D15891AAD78E}"/>
          </ac:spMkLst>
        </pc:spChg>
        <pc:picChg chg="del">
          <ac:chgData name="An, Andi" userId="7d8fd2d9-15e6-42a9-b3d3-ab6005dbdb91" providerId="ADAL" clId="{E3CFCD4E-B6F2-4109-ABFB-658541FAC6E7}" dt="2022-06-05T16:41:42.494" v="571" actId="478"/>
          <ac:picMkLst>
            <pc:docMk/>
            <pc:sldMk cId="1709288386" sldId="2142533279"/>
            <ac:picMk id="4" creationId="{CCAD315B-703A-4776-9D76-A74F3F78D191}"/>
          </ac:picMkLst>
        </pc:picChg>
        <pc:picChg chg="add mod">
          <ac:chgData name="An, Andi" userId="7d8fd2d9-15e6-42a9-b3d3-ab6005dbdb91" providerId="ADAL" clId="{E3CFCD4E-B6F2-4109-ABFB-658541FAC6E7}" dt="2022-06-05T16:43:10.938" v="587" actId="1076"/>
          <ac:picMkLst>
            <pc:docMk/>
            <pc:sldMk cId="1709288386" sldId="2142533279"/>
            <ac:picMk id="5" creationId="{0162147B-A471-4827-A2CF-A63035B40DA4}"/>
          </ac:picMkLst>
        </pc:picChg>
        <pc:picChg chg="add del">
          <ac:chgData name="An, Andi" userId="7d8fd2d9-15e6-42a9-b3d3-ab6005dbdb91" providerId="ADAL" clId="{E3CFCD4E-B6F2-4109-ABFB-658541FAC6E7}" dt="2022-06-05T16:41:41.232" v="568" actId="478"/>
          <ac:picMkLst>
            <pc:docMk/>
            <pc:sldMk cId="1709288386" sldId="2142533279"/>
            <ac:picMk id="6" creationId="{E7A9FCE8-8160-450B-AEF7-4C5453070E9B}"/>
          </ac:picMkLst>
        </pc:picChg>
        <pc:picChg chg="del">
          <ac:chgData name="An, Andi" userId="7d8fd2d9-15e6-42a9-b3d3-ab6005dbdb91" providerId="ADAL" clId="{E3CFCD4E-B6F2-4109-ABFB-658541FAC6E7}" dt="2022-06-05T16:41:42.100" v="570" actId="478"/>
          <ac:picMkLst>
            <pc:docMk/>
            <pc:sldMk cId="1709288386" sldId="2142533279"/>
            <ac:picMk id="7" creationId="{F88533C8-177E-4A5F-90BB-577AA900BC06}"/>
          </ac:picMkLst>
        </pc:picChg>
        <pc:picChg chg="del">
          <ac:chgData name="An, Andi" userId="7d8fd2d9-15e6-42a9-b3d3-ab6005dbdb91" providerId="ADAL" clId="{E3CFCD4E-B6F2-4109-ABFB-658541FAC6E7}" dt="2022-06-05T16:41:43.094" v="572" actId="478"/>
          <ac:picMkLst>
            <pc:docMk/>
            <pc:sldMk cId="1709288386" sldId="2142533279"/>
            <ac:picMk id="9" creationId="{FFA7B400-86F7-4E1B-A019-1E0529065697}"/>
          </ac:picMkLst>
        </pc:picChg>
        <pc:picChg chg="add mod">
          <ac:chgData name="An, Andi" userId="7d8fd2d9-15e6-42a9-b3d3-ab6005dbdb91" providerId="ADAL" clId="{E3CFCD4E-B6F2-4109-ABFB-658541FAC6E7}" dt="2022-06-05T16:43:08.690" v="586" actId="1076"/>
          <ac:picMkLst>
            <pc:docMk/>
            <pc:sldMk cId="1709288386" sldId="2142533279"/>
            <ac:picMk id="10" creationId="{616E7BFD-07A5-4CA6-9FEA-6A732A6D0B2C}"/>
          </ac:picMkLst>
        </pc:picChg>
        <pc:picChg chg="del">
          <ac:chgData name="An, Andi" userId="7d8fd2d9-15e6-42a9-b3d3-ab6005dbdb91" providerId="ADAL" clId="{E3CFCD4E-B6F2-4109-ABFB-658541FAC6E7}" dt="2022-06-05T16:41:41.683" v="569" actId="478"/>
          <ac:picMkLst>
            <pc:docMk/>
            <pc:sldMk cId="1709288386" sldId="2142533279"/>
            <ac:picMk id="24" creationId="{51618638-C220-49D3-BF13-2AC1061E70AC}"/>
          </ac:picMkLst>
        </pc:picChg>
        <pc:picChg chg="del">
          <ac:chgData name="An, Andi" userId="7d8fd2d9-15e6-42a9-b3d3-ab6005dbdb91" providerId="ADAL" clId="{E3CFCD4E-B6F2-4109-ABFB-658541FAC6E7}" dt="2022-06-05T16:37:51.829" v="548" actId="478"/>
          <ac:picMkLst>
            <pc:docMk/>
            <pc:sldMk cId="1709288386" sldId="2142533279"/>
            <ac:picMk id="104450" creationId="{38B85C7D-8355-40C7-AE43-3855D399F92D}"/>
          </ac:picMkLst>
        </pc:picChg>
      </pc:sldChg>
      <pc:sldChg chg="del">
        <pc:chgData name="An, Andi" userId="7d8fd2d9-15e6-42a9-b3d3-ab6005dbdb91" providerId="ADAL" clId="{E3CFCD4E-B6F2-4109-ABFB-658541FAC6E7}" dt="2022-06-05T16:24:48.952" v="358" actId="47"/>
        <pc:sldMkLst>
          <pc:docMk/>
          <pc:sldMk cId="2761477618" sldId="2142533359"/>
        </pc:sldMkLst>
      </pc:sldChg>
      <pc:sldChg chg="del">
        <pc:chgData name="An, Andi" userId="7d8fd2d9-15e6-42a9-b3d3-ab6005dbdb91" providerId="ADAL" clId="{E3CFCD4E-B6F2-4109-ABFB-658541FAC6E7}" dt="2022-06-05T16:24:48.952" v="358" actId="47"/>
        <pc:sldMkLst>
          <pc:docMk/>
          <pc:sldMk cId="3219653398" sldId="2142533367"/>
        </pc:sldMkLst>
      </pc:sldChg>
      <pc:sldChg chg="addSp delSp modSp new mod">
        <pc:chgData name="An, Andi" userId="7d8fd2d9-15e6-42a9-b3d3-ab6005dbdb91" providerId="ADAL" clId="{E3CFCD4E-B6F2-4109-ABFB-658541FAC6E7}" dt="2022-06-05T16:58:03.686" v="2363" actId="5793"/>
        <pc:sldMkLst>
          <pc:docMk/>
          <pc:sldMk cId="1829563736" sldId="2142533368"/>
        </pc:sldMkLst>
        <pc:spChg chg="mod">
          <ac:chgData name="An, Andi" userId="7d8fd2d9-15e6-42a9-b3d3-ab6005dbdb91" providerId="ADAL" clId="{E3CFCD4E-B6F2-4109-ABFB-658541FAC6E7}" dt="2022-06-05T16:45:11.244" v="606"/>
          <ac:spMkLst>
            <pc:docMk/>
            <pc:sldMk cId="1829563736" sldId="2142533368"/>
            <ac:spMk id="2" creationId="{3BF4ECE0-1567-4C90-8E0C-D01110472E56}"/>
          </ac:spMkLst>
        </pc:spChg>
        <pc:spChg chg="mod">
          <ac:chgData name="An, Andi" userId="7d8fd2d9-15e6-42a9-b3d3-ab6005dbdb91" providerId="ADAL" clId="{E3CFCD4E-B6F2-4109-ABFB-658541FAC6E7}" dt="2022-06-05T16:58:03.686" v="2363" actId="5793"/>
          <ac:spMkLst>
            <pc:docMk/>
            <pc:sldMk cId="1829563736" sldId="2142533368"/>
            <ac:spMk id="3" creationId="{580D0043-B07F-4B5F-8873-BBB217B8C26E}"/>
          </ac:spMkLst>
        </pc:spChg>
        <pc:spChg chg="del mod">
          <ac:chgData name="An, Andi" userId="7d8fd2d9-15e6-42a9-b3d3-ab6005dbdb91" providerId="ADAL" clId="{E3CFCD4E-B6F2-4109-ABFB-658541FAC6E7}" dt="2022-06-05T16:44:47.956" v="602" actId="478"/>
          <ac:spMkLst>
            <pc:docMk/>
            <pc:sldMk cId="1829563736" sldId="2142533368"/>
            <ac:spMk id="4" creationId="{A1172770-5323-4229-A25D-CD987FA7AB10}"/>
          </ac:spMkLst>
        </pc:spChg>
        <pc:spChg chg="del mod">
          <ac:chgData name="An, Andi" userId="7d8fd2d9-15e6-42a9-b3d3-ab6005dbdb91" providerId="ADAL" clId="{E3CFCD4E-B6F2-4109-ABFB-658541FAC6E7}" dt="2022-06-05T16:44:50.015" v="603" actId="478"/>
          <ac:spMkLst>
            <pc:docMk/>
            <pc:sldMk cId="1829563736" sldId="2142533368"/>
            <ac:spMk id="5" creationId="{70FA3BB3-E753-4F84-86BE-6F15957DBEBE}"/>
          </ac:spMkLst>
        </pc:spChg>
        <pc:picChg chg="add del mod">
          <ac:chgData name="An, Andi" userId="7d8fd2d9-15e6-42a9-b3d3-ab6005dbdb91" providerId="ADAL" clId="{E3CFCD4E-B6F2-4109-ABFB-658541FAC6E7}" dt="2022-06-05T16:38:05.691" v="552" actId="21"/>
          <ac:picMkLst>
            <pc:docMk/>
            <pc:sldMk cId="1829563736" sldId="2142533368"/>
            <ac:picMk id="6" creationId="{E2BF9346-2714-436D-B14A-396910EB7F1D}"/>
          </ac:picMkLst>
        </pc:picChg>
      </pc:sldChg>
      <pc:sldChg chg="add del">
        <pc:chgData name="An, Andi" userId="7d8fd2d9-15e6-42a9-b3d3-ab6005dbdb91" providerId="ADAL" clId="{E3CFCD4E-B6F2-4109-ABFB-658541FAC6E7}" dt="2022-06-05T16:23:38.071" v="346"/>
        <pc:sldMkLst>
          <pc:docMk/>
          <pc:sldMk cId="3726107452" sldId="2142533369"/>
        </pc:sldMkLst>
      </pc:sldChg>
      <pc:sldChg chg="addSp delSp modSp add mod ord">
        <pc:chgData name="An, Andi" userId="7d8fd2d9-15e6-42a9-b3d3-ab6005dbdb91" providerId="ADAL" clId="{E3CFCD4E-B6F2-4109-ABFB-658541FAC6E7}" dt="2022-06-10T04:56:10.540" v="2548" actId="20577"/>
        <pc:sldMkLst>
          <pc:docMk/>
          <pc:sldMk cId="3866761111" sldId="2142533369"/>
        </pc:sldMkLst>
        <pc:spChg chg="mod">
          <ac:chgData name="An, Andi" userId="7d8fd2d9-15e6-42a9-b3d3-ab6005dbdb91" providerId="ADAL" clId="{E3CFCD4E-B6F2-4109-ABFB-658541FAC6E7}" dt="2022-06-05T16:28:58.193" v="403"/>
          <ac:spMkLst>
            <pc:docMk/>
            <pc:sldMk cId="3866761111" sldId="2142533369"/>
            <ac:spMk id="2" creationId="{3BF4ECE0-1567-4C90-8E0C-D01110472E56}"/>
          </ac:spMkLst>
        </pc:spChg>
        <pc:spChg chg="del">
          <ac:chgData name="An, Andi" userId="7d8fd2d9-15e6-42a9-b3d3-ab6005dbdb91" providerId="ADAL" clId="{E3CFCD4E-B6F2-4109-ABFB-658541FAC6E7}" dt="2022-06-05T16:23:52.454" v="349" actId="478"/>
          <ac:spMkLst>
            <pc:docMk/>
            <pc:sldMk cId="3866761111" sldId="2142533369"/>
            <ac:spMk id="3" creationId="{580D0043-B07F-4B5F-8873-BBB217B8C26E}"/>
          </ac:spMkLst>
        </pc:spChg>
        <pc:spChg chg="del">
          <ac:chgData name="An, Andi" userId="7d8fd2d9-15e6-42a9-b3d3-ab6005dbdb91" providerId="ADAL" clId="{E3CFCD4E-B6F2-4109-ABFB-658541FAC6E7}" dt="2022-06-05T16:23:53.320" v="350" actId="478"/>
          <ac:spMkLst>
            <pc:docMk/>
            <pc:sldMk cId="3866761111" sldId="2142533369"/>
            <ac:spMk id="4" creationId="{A1172770-5323-4229-A25D-CD987FA7AB10}"/>
          </ac:spMkLst>
        </pc:spChg>
        <pc:spChg chg="del">
          <ac:chgData name="An, Andi" userId="7d8fd2d9-15e6-42a9-b3d3-ab6005dbdb91" providerId="ADAL" clId="{E3CFCD4E-B6F2-4109-ABFB-658541FAC6E7}" dt="2022-06-05T16:23:53.925" v="351" actId="478"/>
          <ac:spMkLst>
            <pc:docMk/>
            <pc:sldMk cId="3866761111" sldId="2142533369"/>
            <ac:spMk id="5" creationId="{70FA3BB3-E753-4F84-86BE-6F15957DBEBE}"/>
          </ac:spMkLst>
        </pc:spChg>
        <pc:spChg chg="add mod">
          <ac:chgData name="An, Andi" userId="7d8fd2d9-15e6-42a9-b3d3-ab6005dbdb91" providerId="ADAL" clId="{E3CFCD4E-B6F2-4109-ABFB-658541FAC6E7}" dt="2022-06-05T16:24:05.544" v="352"/>
          <ac:spMkLst>
            <pc:docMk/>
            <pc:sldMk cId="3866761111" sldId="2142533369"/>
            <ac:spMk id="7" creationId="{4ABC7DCD-C68A-43A4-9F49-D053BD030208}"/>
          </ac:spMkLst>
        </pc:spChg>
        <pc:spChg chg="add mod">
          <ac:chgData name="An, Andi" userId="7d8fd2d9-15e6-42a9-b3d3-ab6005dbdb91" providerId="ADAL" clId="{E3CFCD4E-B6F2-4109-ABFB-658541FAC6E7}" dt="2022-06-10T04:56:10.540" v="2548" actId="20577"/>
          <ac:spMkLst>
            <pc:docMk/>
            <pc:sldMk cId="3866761111" sldId="2142533369"/>
            <ac:spMk id="9" creationId="{402FCD15-3197-4FE7-84B8-5E36F1DE8D90}"/>
          </ac:spMkLst>
        </pc:spChg>
        <pc:graphicFrameChg chg="add mod">
          <ac:chgData name="An, Andi" userId="7d8fd2d9-15e6-42a9-b3d3-ab6005dbdb91" providerId="ADAL" clId="{E3CFCD4E-B6F2-4109-ABFB-658541FAC6E7}" dt="2022-06-05T16:24:05.544" v="352"/>
          <ac:graphicFrameMkLst>
            <pc:docMk/>
            <pc:sldMk cId="3866761111" sldId="2142533369"/>
            <ac:graphicFrameMk id="8" creationId="{492E1B6A-3D47-4881-942F-9291B7B47033}"/>
          </ac:graphicFrameMkLst>
        </pc:graphicFrameChg>
        <pc:picChg chg="del">
          <ac:chgData name="An, Andi" userId="7d8fd2d9-15e6-42a9-b3d3-ab6005dbdb91" providerId="ADAL" clId="{E3CFCD4E-B6F2-4109-ABFB-658541FAC6E7}" dt="2022-06-05T16:23:51.030" v="348" actId="478"/>
          <ac:picMkLst>
            <pc:docMk/>
            <pc:sldMk cId="3866761111" sldId="2142533369"/>
            <ac:picMk id="6" creationId="{E2BF9346-2714-436D-B14A-396910EB7F1D}"/>
          </ac:picMkLst>
        </pc:picChg>
      </pc:sldChg>
      <pc:sldChg chg="addSp delSp modSp add del mod">
        <pc:chgData name="An, Andi" userId="7d8fd2d9-15e6-42a9-b3d3-ab6005dbdb91" providerId="ADAL" clId="{E3CFCD4E-B6F2-4109-ABFB-658541FAC6E7}" dt="2022-06-05T16:23:28.102" v="344"/>
        <pc:sldMkLst>
          <pc:docMk/>
          <pc:sldMk cId="3881730536" sldId="2142533369"/>
        </pc:sldMkLst>
        <pc:spChg chg="mod">
          <ac:chgData name="An, Andi" userId="7d8fd2d9-15e6-42a9-b3d3-ab6005dbdb91" providerId="ADAL" clId="{E3CFCD4E-B6F2-4109-ABFB-658541FAC6E7}" dt="2022-06-05T16:23:25.344" v="338"/>
          <ac:spMkLst>
            <pc:docMk/>
            <pc:sldMk cId="3881730536" sldId="2142533369"/>
            <ac:spMk id="2" creationId="{3BF4ECE0-1567-4C90-8E0C-D01110472E56}"/>
          </ac:spMkLst>
        </pc:spChg>
        <pc:spChg chg="add del">
          <ac:chgData name="An, Andi" userId="7d8fd2d9-15e6-42a9-b3d3-ab6005dbdb91" providerId="ADAL" clId="{E3CFCD4E-B6F2-4109-ABFB-658541FAC6E7}" dt="2022-06-05T16:23:27.201" v="342" actId="478"/>
          <ac:spMkLst>
            <pc:docMk/>
            <pc:sldMk cId="3881730536" sldId="2142533369"/>
            <ac:spMk id="3" creationId="{580D0043-B07F-4B5F-8873-BBB217B8C26E}"/>
          </ac:spMkLst>
        </pc:spChg>
        <pc:spChg chg="add del">
          <ac:chgData name="An, Andi" userId="7d8fd2d9-15e6-42a9-b3d3-ab6005dbdb91" providerId="ADAL" clId="{E3CFCD4E-B6F2-4109-ABFB-658541FAC6E7}" dt="2022-06-05T16:23:26.350" v="340" actId="478"/>
          <ac:spMkLst>
            <pc:docMk/>
            <pc:sldMk cId="3881730536" sldId="2142533369"/>
            <ac:spMk id="4" creationId="{A1172770-5323-4229-A25D-CD987FA7AB10}"/>
          </ac:spMkLst>
        </pc:spChg>
        <pc:spChg chg="add del">
          <ac:chgData name="An, Andi" userId="7d8fd2d9-15e6-42a9-b3d3-ab6005dbdb91" providerId="ADAL" clId="{E3CFCD4E-B6F2-4109-ABFB-658541FAC6E7}" dt="2022-06-05T16:23:26.826" v="341" actId="478"/>
          <ac:spMkLst>
            <pc:docMk/>
            <pc:sldMk cId="3881730536" sldId="2142533369"/>
            <ac:spMk id="5" creationId="{70FA3BB3-E753-4F84-86BE-6F15957DBEBE}"/>
          </ac:spMkLst>
        </pc:spChg>
        <pc:spChg chg="add del mod">
          <ac:chgData name="An, Andi" userId="7d8fd2d9-15e6-42a9-b3d3-ab6005dbdb91" providerId="ADAL" clId="{E3CFCD4E-B6F2-4109-ABFB-658541FAC6E7}" dt="2022-06-05T16:23:25.728" v="339"/>
          <ac:spMkLst>
            <pc:docMk/>
            <pc:sldMk cId="3881730536" sldId="2142533369"/>
            <ac:spMk id="7" creationId="{DB9390E0-F39D-4F91-AF55-84A1CDFC68F1}"/>
          </ac:spMkLst>
        </pc:spChg>
        <pc:spChg chg="add del mod">
          <ac:chgData name="An, Andi" userId="7d8fd2d9-15e6-42a9-b3d3-ab6005dbdb91" providerId="ADAL" clId="{E3CFCD4E-B6F2-4109-ABFB-658541FAC6E7}" dt="2022-06-05T16:23:25.728" v="339"/>
          <ac:spMkLst>
            <pc:docMk/>
            <pc:sldMk cId="3881730536" sldId="2142533369"/>
            <ac:spMk id="9" creationId="{FDA5054C-6798-4B1A-A11D-11485858DBC5}"/>
          </ac:spMkLst>
        </pc:spChg>
        <pc:graphicFrameChg chg="add del mod">
          <ac:chgData name="An, Andi" userId="7d8fd2d9-15e6-42a9-b3d3-ab6005dbdb91" providerId="ADAL" clId="{E3CFCD4E-B6F2-4109-ABFB-658541FAC6E7}" dt="2022-06-05T16:23:25.728" v="339"/>
          <ac:graphicFrameMkLst>
            <pc:docMk/>
            <pc:sldMk cId="3881730536" sldId="2142533369"/>
            <ac:graphicFrameMk id="8" creationId="{5DC947C3-4AE2-404B-8434-6DD8DB498D8D}"/>
          </ac:graphicFrameMkLst>
        </pc:graphicFrameChg>
        <pc:picChg chg="add del">
          <ac:chgData name="An, Andi" userId="7d8fd2d9-15e6-42a9-b3d3-ab6005dbdb91" providerId="ADAL" clId="{E3CFCD4E-B6F2-4109-ABFB-658541FAC6E7}" dt="2022-06-05T16:23:27.620" v="343" actId="478"/>
          <ac:picMkLst>
            <pc:docMk/>
            <pc:sldMk cId="3881730536" sldId="2142533369"/>
            <ac:picMk id="6" creationId="{E2BF9346-2714-436D-B14A-396910EB7F1D}"/>
          </ac:picMkLst>
        </pc:picChg>
      </pc:sldChg>
      <pc:sldChg chg="addSp delSp modSp add mod">
        <pc:chgData name="An, Andi" userId="7d8fd2d9-15e6-42a9-b3d3-ab6005dbdb91" providerId="ADAL" clId="{E3CFCD4E-B6F2-4109-ABFB-658541FAC6E7}" dt="2022-06-05T16:39:17.034" v="565" actId="692"/>
        <pc:sldMkLst>
          <pc:docMk/>
          <pc:sldMk cId="2864539259" sldId="2142533370"/>
        </pc:sldMkLst>
        <pc:spChg chg="mod">
          <ac:chgData name="An, Andi" userId="7d8fd2d9-15e6-42a9-b3d3-ab6005dbdb91" providerId="ADAL" clId="{E3CFCD4E-B6F2-4109-ABFB-658541FAC6E7}" dt="2022-06-05T16:28:58.193" v="403"/>
          <ac:spMkLst>
            <pc:docMk/>
            <pc:sldMk cId="2864539259" sldId="2142533370"/>
            <ac:spMk id="2" creationId="{37FB7C6E-1103-4082-BA6C-D15891AAD78E}"/>
          </ac:spMkLst>
        </pc:spChg>
        <pc:spChg chg="add mod">
          <ac:chgData name="An, Andi" userId="7d8fd2d9-15e6-42a9-b3d3-ab6005dbdb91" providerId="ADAL" clId="{E3CFCD4E-B6F2-4109-ABFB-658541FAC6E7}" dt="2022-06-05T16:39:17.034" v="565" actId="692"/>
          <ac:spMkLst>
            <pc:docMk/>
            <pc:sldMk cId="2864539259" sldId="2142533370"/>
            <ac:spMk id="12" creationId="{5C09CE4E-FF4C-4D88-92A4-859271B57755}"/>
          </ac:spMkLst>
        </pc:spChg>
        <pc:picChg chg="del">
          <ac:chgData name="An, Andi" userId="7d8fd2d9-15e6-42a9-b3d3-ab6005dbdb91" providerId="ADAL" clId="{E3CFCD4E-B6F2-4109-ABFB-658541FAC6E7}" dt="2022-06-05T16:25:14.823" v="382" actId="478"/>
          <ac:picMkLst>
            <pc:docMk/>
            <pc:sldMk cId="2864539259" sldId="2142533370"/>
            <ac:picMk id="4" creationId="{CCAD315B-703A-4776-9D76-A74F3F78D191}"/>
          </ac:picMkLst>
        </pc:picChg>
        <pc:picChg chg="add mod">
          <ac:chgData name="An, Andi" userId="7d8fd2d9-15e6-42a9-b3d3-ab6005dbdb91" providerId="ADAL" clId="{E3CFCD4E-B6F2-4109-ABFB-658541FAC6E7}" dt="2022-06-05T16:36:27.610" v="547" actId="1076"/>
          <ac:picMkLst>
            <pc:docMk/>
            <pc:sldMk cId="2864539259" sldId="2142533370"/>
            <ac:picMk id="5" creationId="{6B869A25-C1F3-4912-AE97-B2949372EE30}"/>
          </ac:picMkLst>
        </pc:picChg>
        <pc:picChg chg="del">
          <ac:chgData name="An, Andi" userId="7d8fd2d9-15e6-42a9-b3d3-ab6005dbdb91" providerId="ADAL" clId="{E3CFCD4E-B6F2-4109-ABFB-658541FAC6E7}" dt="2022-06-05T16:25:13.800" v="380" actId="478"/>
          <ac:picMkLst>
            <pc:docMk/>
            <pc:sldMk cId="2864539259" sldId="2142533370"/>
            <ac:picMk id="6" creationId="{E7A9FCE8-8160-450B-AEF7-4C5453070E9B}"/>
          </ac:picMkLst>
        </pc:picChg>
        <pc:picChg chg="del">
          <ac:chgData name="An, Andi" userId="7d8fd2d9-15e6-42a9-b3d3-ab6005dbdb91" providerId="ADAL" clId="{E3CFCD4E-B6F2-4109-ABFB-658541FAC6E7}" dt="2022-06-05T16:25:14.338" v="381" actId="478"/>
          <ac:picMkLst>
            <pc:docMk/>
            <pc:sldMk cId="2864539259" sldId="2142533370"/>
            <ac:picMk id="7" creationId="{F88533C8-177E-4A5F-90BB-577AA900BC06}"/>
          </ac:picMkLst>
        </pc:picChg>
        <pc:picChg chg="del">
          <ac:chgData name="An, Andi" userId="7d8fd2d9-15e6-42a9-b3d3-ab6005dbdb91" providerId="ADAL" clId="{E3CFCD4E-B6F2-4109-ABFB-658541FAC6E7}" dt="2022-06-05T16:25:15.255" v="383" actId="478"/>
          <ac:picMkLst>
            <pc:docMk/>
            <pc:sldMk cId="2864539259" sldId="2142533370"/>
            <ac:picMk id="9" creationId="{FFA7B400-86F7-4E1B-A019-1E0529065697}"/>
          </ac:picMkLst>
        </pc:picChg>
        <pc:picChg chg="add del mod">
          <ac:chgData name="An, Andi" userId="7d8fd2d9-15e6-42a9-b3d3-ab6005dbdb91" providerId="ADAL" clId="{E3CFCD4E-B6F2-4109-ABFB-658541FAC6E7}" dt="2022-06-05T16:26:22.632" v="392" actId="478"/>
          <ac:picMkLst>
            <pc:docMk/>
            <pc:sldMk cId="2864539259" sldId="2142533370"/>
            <ac:picMk id="10" creationId="{64A9D5C5-F4C3-4DAC-A663-1528DF7D166F}"/>
          </ac:picMkLst>
        </pc:picChg>
        <pc:picChg chg="del">
          <ac:chgData name="An, Andi" userId="7d8fd2d9-15e6-42a9-b3d3-ab6005dbdb91" providerId="ADAL" clId="{E3CFCD4E-B6F2-4109-ABFB-658541FAC6E7}" dt="2022-06-05T16:25:13.123" v="379" actId="478"/>
          <ac:picMkLst>
            <pc:docMk/>
            <pc:sldMk cId="2864539259" sldId="2142533370"/>
            <ac:picMk id="24" creationId="{51618638-C220-49D3-BF13-2AC1061E70AC}"/>
          </ac:picMkLst>
        </pc:picChg>
        <pc:picChg chg="del">
          <ac:chgData name="An, Andi" userId="7d8fd2d9-15e6-42a9-b3d3-ab6005dbdb91" providerId="ADAL" clId="{E3CFCD4E-B6F2-4109-ABFB-658541FAC6E7}" dt="2022-06-05T16:25:16.192" v="384" actId="478"/>
          <ac:picMkLst>
            <pc:docMk/>
            <pc:sldMk cId="2864539259" sldId="2142533370"/>
            <ac:picMk id="104450" creationId="{38B85C7D-8355-40C7-AE43-3855D399F92D}"/>
          </ac:picMkLst>
        </pc:picChg>
      </pc:sldChg>
      <pc:sldChg chg="addSp delSp modSp new mod">
        <pc:chgData name="An, Andi" userId="7d8fd2d9-15e6-42a9-b3d3-ab6005dbdb91" providerId="ADAL" clId="{E3CFCD4E-B6F2-4109-ABFB-658541FAC6E7}" dt="2022-06-05T17:01:26.147" v="2382" actId="404"/>
        <pc:sldMkLst>
          <pc:docMk/>
          <pc:sldMk cId="46002554" sldId="2142533371"/>
        </pc:sldMkLst>
        <pc:spChg chg="mod">
          <ac:chgData name="An, Andi" userId="7d8fd2d9-15e6-42a9-b3d3-ab6005dbdb91" providerId="ADAL" clId="{E3CFCD4E-B6F2-4109-ABFB-658541FAC6E7}" dt="2022-06-05T16:29:43.279" v="407"/>
          <ac:spMkLst>
            <pc:docMk/>
            <pc:sldMk cId="46002554" sldId="2142533371"/>
            <ac:spMk id="2" creationId="{3FE0A0B4-2229-4C46-A8D0-33E53201CAEF}"/>
          </ac:spMkLst>
        </pc:spChg>
        <pc:spChg chg="del">
          <ac:chgData name="An, Andi" userId="7d8fd2d9-15e6-42a9-b3d3-ab6005dbdb91" providerId="ADAL" clId="{E3CFCD4E-B6F2-4109-ABFB-658541FAC6E7}" dt="2022-06-05T16:29:47.654" v="409" actId="478"/>
          <ac:spMkLst>
            <pc:docMk/>
            <pc:sldMk cId="46002554" sldId="2142533371"/>
            <ac:spMk id="3" creationId="{7E4D4A59-CF9E-4FC2-B3D8-5302748EAF31}"/>
          </ac:spMkLst>
        </pc:spChg>
        <pc:spChg chg="del">
          <ac:chgData name="An, Andi" userId="7d8fd2d9-15e6-42a9-b3d3-ab6005dbdb91" providerId="ADAL" clId="{E3CFCD4E-B6F2-4109-ABFB-658541FAC6E7}" dt="2022-06-05T16:29:49.286" v="410" actId="478"/>
          <ac:spMkLst>
            <pc:docMk/>
            <pc:sldMk cId="46002554" sldId="2142533371"/>
            <ac:spMk id="4" creationId="{D31DD75D-9643-4803-9493-0636292F0157}"/>
          </ac:spMkLst>
        </pc:spChg>
        <pc:spChg chg="del">
          <ac:chgData name="An, Andi" userId="7d8fd2d9-15e6-42a9-b3d3-ab6005dbdb91" providerId="ADAL" clId="{E3CFCD4E-B6F2-4109-ABFB-658541FAC6E7}" dt="2022-06-05T16:29:45.622" v="408" actId="478"/>
          <ac:spMkLst>
            <pc:docMk/>
            <pc:sldMk cId="46002554" sldId="2142533371"/>
            <ac:spMk id="5" creationId="{5C1922C3-9B42-43F8-8CC9-376A9CC1F084}"/>
          </ac:spMkLst>
        </pc:spChg>
        <pc:spChg chg="add del mod">
          <ac:chgData name="An, Andi" userId="7d8fd2d9-15e6-42a9-b3d3-ab6005dbdb91" providerId="ADAL" clId="{E3CFCD4E-B6F2-4109-ABFB-658541FAC6E7}" dt="2022-06-05T16:32:23.819" v="471" actId="26606"/>
          <ac:spMkLst>
            <pc:docMk/>
            <pc:sldMk cId="46002554" sldId="2142533371"/>
            <ac:spMk id="7" creationId="{C4025A81-6558-43CD-972C-E5F8FCF01CFF}"/>
          </ac:spMkLst>
        </pc:spChg>
        <pc:graphicFrameChg chg="add mod">
          <ac:chgData name="An, Andi" userId="7d8fd2d9-15e6-42a9-b3d3-ab6005dbdb91" providerId="ADAL" clId="{E3CFCD4E-B6F2-4109-ABFB-658541FAC6E7}" dt="2022-06-05T17:01:26.147" v="2382" actId="404"/>
          <ac:graphicFrameMkLst>
            <pc:docMk/>
            <pc:sldMk cId="46002554" sldId="2142533371"/>
            <ac:graphicFrameMk id="9" creationId="{5E3D830E-6E71-A235-5C51-C9549D7F97A3}"/>
          </ac:graphicFrameMkLst>
        </pc:graphicFrameChg>
      </pc:sldChg>
      <pc:sldChg chg="addSp delSp modSp new del mod">
        <pc:chgData name="An, Andi" userId="7d8fd2d9-15e6-42a9-b3d3-ab6005dbdb91" providerId="ADAL" clId="{E3CFCD4E-B6F2-4109-ABFB-658541FAC6E7}" dt="2022-06-05T17:02:32.536" v="2394" actId="47"/>
        <pc:sldMkLst>
          <pc:docMk/>
          <pc:sldMk cId="1266608943" sldId="2142533372"/>
        </pc:sldMkLst>
        <pc:spChg chg="mod">
          <ac:chgData name="An, Andi" userId="7d8fd2d9-15e6-42a9-b3d3-ab6005dbdb91" providerId="ADAL" clId="{E3CFCD4E-B6F2-4109-ABFB-658541FAC6E7}" dt="2022-06-05T16:55:53.229" v="2043" actId="27636"/>
          <ac:spMkLst>
            <pc:docMk/>
            <pc:sldMk cId="1266608943" sldId="2142533372"/>
            <ac:spMk id="2" creationId="{CAF1F729-74B6-4C6D-A903-B0E267FD57F6}"/>
          </ac:spMkLst>
        </pc:spChg>
        <pc:spChg chg="del">
          <ac:chgData name="An, Andi" userId="7d8fd2d9-15e6-42a9-b3d3-ab6005dbdb91" providerId="ADAL" clId="{E3CFCD4E-B6F2-4109-ABFB-658541FAC6E7}" dt="2022-06-05T16:55:28.819" v="2030" actId="478"/>
          <ac:spMkLst>
            <pc:docMk/>
            <pc:sldMk cId="1266608943" sldId="2142533372"/>
            <ac:spMk id="3" creationId="{C45BE0F5-7B25-43A9-AF91-26A173B2B10C}"/>
          </ac:spMkLst>
        </pc:spChg>
        <pc:spChg chg="del">
          <ac:chgData name="An, Andi" userId="7d8fd2d9-15e6-42a9-b3d3-ab6005dbdb91" providerId="ADAL" clId="{E3CFCD4E-B6F2-4109-ABFB-658541FAC6E7}" dt="2022-06-05T16:55:30.710" v="2031" actId="478"/>
          <ac:spMkLst>
            <pc:docMk/>
            <pc:sldMk cId="1266608943" sldId="2142533372"/>
            <ac:spMk id="4" creationId="{CEEFBFC7-013E-48BC-BE13-944F5704941E}"/>
          </ac:spMkLst>
        </pc:spChg>
        <pc:spChg chg="del">
          <ac:chgData name="An, Andi" userId="7d8fd2d9-15e6-42a9-b3d3-ab6005dbdb91" providerId="ADAL" clId="{E3CFCD4E-B6F2-4109-ABFB-658541FAC6E7}" dt="2022-06-05T16:55:31.985" v="2032" actId="478"/>
          <ac:spMkLst>
            <pc:docMk/>
            <pc:sldMk cId="1266608943" sldId="2142533372"/>
            <ac:spMk id="5" creationId="{44835871-43CA-47F3-A753-69CB222AE24E}"/>
          </ac:spMkLst>
        </pc:spChg>
        <pc:spChg chg="add del mod">
          <ac:chgData name="An, Andi" userId="7d8fd2d9-15e6-42a9-b3d3-ab6005dbdb91" providerId="ADAL" clId="{E3CFCD4E-B6F2-4109-ABFB-658541FAC6E7}" dt="2022-06-05T17:02:06.158" v="2388" actId="20577"/>
          <ac:spMkLst>
            <pc:docMk/>
            <pc:sldMk cId="1266608943" sldId="2142533372"/>
            <ac:spMk id="7" creationId="{56C4AE9D-F6CE-4DCA-8701-B8805182EED4}"/>
          </ac:spMkLst>
        </pc:spChg>
        <pc:graphicFrameChg chg="add del">
          <ac:chgData name="An, Andi" userId="7d8fd2d9-15e6-42a9-b3d3-ab6005dbdb91" providerId="ADAL" clId="{E3CFCD4E-B6F2-4109-ABFB-658541FAC6E7}" dt="2022-06-05T17:00:42.574" v="2379" actId="26606"/>
          <ac:graphicFrameMkLst>
            <pc:docMk/>
            <pc:sldMk cId="1266608943" sldId="2142533372"/>
            <ac:graphicFrameMk id="9" creationId="{A68B0BF3-D546-4AA7-5E77-F0AC3955BB27}"/>
          </ac:graphicFrameMkLst>
        </pc:graphicFrameChg>
      </pc:sldChg>
      <pc:sldChg chg="modSp add mod">
        <pc:chgData name="An, Andi" userId="7d8fd2d9-15e6-42a9-b3d3-ab6005dbdb91" providerId="ADAL" clId="{E3CFCD4E-B6F2-4109-ABFB-658541FAC6E7}" dt="2022-06-10T05:04:32.158" v="2558" actId="20577"/>
        <pc:sldMkLst>
          <pc:docMk/>
          <pc:sldMk cId="3527512828" sldId="2142533373"/>
        </pc:sldMkLst>
        <pc:spChg chg="mod">
          <ac:chgData name="An, Andi" userId="7d8fd2d9-15e6-42a9-b3d3-ab6005dbdb91" providerId="ADAL" clId="{E3CFCD4E-B6F2-4109-ABFB-658541FAC6E7}" dt="2022-06-05T17:01:21.478" v="2381"/>
          <ac:spMkLst>
            <pc:docMk/>
            <pc:sldMk cId="3527512828" sldId="2142533373"/>
            <ac:spMk id="2" creationId="{3FE0A0B4-2229-4C46-A8D0-33E53201CAEF}"/>
          </ac:spMkLst>
        </pc:spChg>
        <pc:graphicFrameChg chg="mod">
          <ac:chgData name="An, Andi" userId="7d8fd2d9-15e6-42a9-b3d3-ab6005dbdb91" providerId="ADAL" clId="{E3CFCD4E-B6F2-4109-ABFB-658541FAC6E7}" dt="2022-06-10T05:04:32.158" v="2558" actId="20577"/>
          <ac:graphicFrameMkLst>
            <pc:docMk/>
            <pc:sldMk cId="3527512828" sldId="2142533373"/>
            <ac:graphicFrameMk id="9" creationId="{5E3D830E-6E71-A235-5C51-C9549D7F97A3}"/>
          </ac:graphicFrameMkLst>
        </pc:graphicFrameChg>
      </pc:sldChg>
      <pc:sldMasterChg chg="modSldLayout">
        <pc:chgData name="An, Andi" userId="7d8fd2d9-15e6-42a9-b3d3-ab6005dbdb91" providerId="ADAL" clId="{E3CFCD4E-B6F2-4109-ABFB-658541FAC6E7}" dt="2022-06-05T16:28:54.478" v="402"/>
        <pc:sldMasterMkLst>
          <pc:docMk/>
          <pc:sldMasterMk cId="4112547018" sldId="2147483703"/>
        </pc:sldMasterMkLst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87415517" sldId="214748366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3355136" sldId="214748366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11045949" sldId="214748366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634741014" sldId="214748366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929403114" sldId="214748366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516088438" sldId="214748366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033708603" sldId="214748366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24702171" sldId="214748366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502808677" sldId="214748366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437958496" sldId="214748367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735086696" sldId="214748367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775583411" sldId="214748367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175096946" sldId="214748367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427435285" sldId="214748367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141544137" sldId="214748367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192897252" sldId="214748367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38873765" sldId="214748367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111369733" sldId="214748367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237579081" sldId="214748367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21808256" sldId="214748368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229136536" sldId="214748368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99270481" sldId="214748368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768247812" sldId="214748368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481555008" sldId="214748368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956777902" sldId="214748368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616949557" sldId="214748368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772297498" sldId="214748368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537436262" sldId="214748368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601593743" sldId="214748368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894133302" sldId="214748369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027335877" sldId="214748369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833715997" sldId="214748369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152254604" sldId="214748369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332473762" sldId="214748369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54297720" sldId="214748369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730598795" sldId="214748369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516783502" sldId="214748369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699237804" sldId="214748369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292087709" sldId="214748369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761868658" sldId="214748370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586611605" sldId="214748374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610601568" sldId="214748374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458128405" sldId="214748374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68530607" sldId="2147483750"/>
          </pc:sldLayoutMkLst>
        </pc:sldLayoutChg>
        <pc:sldLayoutChg chg="modSp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814712375" sldId="2147483876"/>
          </pc:sldLayoutMkLst>
          <pc:spChg chg="mod">
            <ac:chgData name="An, Andi" userId="7d8fd2d9-15e6-42a9-b3d3-ab6005dbdb91" providerId="ADAL" clId="{E3CFCD4E-B6F2-4109-ABFB-658541FAC6E7}" dt="2022-06-05T16:28:54.478" v="402"/>
            <ac:spMkLst>
              <pc:docMk/>
              <pc:sldMasterMk cId="4000864526" sldId="2147483878"/>
              <pc:sldLayoutMk cId="3814712375" sldId="2147483876"/>
              <ac:spMk id="6" creationId="{00000000-0000-0000-0000-000000000000}"/>
            </ac:spMkLst>
          </pc:spChg>
        </pc:sldLayoutChg>
      </pc:sldMasterChg>
      <pc:sldMasterChg chg="del delSldLayout">
        <pc:chgData name="An, Andi" userId="7d8fd2d9-15e6-42a9-b3d3-ab6005dbdb91" providerId="ADAL" clId="{E3CFCD4E-B6F2-4109-ABFB-658541FAC6E7}" dt="2022-06-05T16:24:48.952" v="358" actId="47"/>
        <pc:sldMasterMkLst>
          <pc:docMk/>
          <pc:sldMasterMk cId="1403569624" sldId="2147483733"/>
        </pc:sldMasterMkLst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1818733090" sldId="2147483734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4259396146" sldId="2147483735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2555694657" sldId="2147483736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36685394" sldId="2147483737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3981819371" sldId="2147483738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613761570" sldId="2147483739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3805958364" sldId="2147483740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1614951264" sldId="2147483741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2851829548" sldId="2147483742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10:37.727" v="7"/>
        <pc:sldMasterMkLst>
          <pc:docMk/>
          <pc:sldMasterMk cId="2764746016" sldId="2147483753"/>
        </pc:sldMasterMkLst>
        <pc:spChg chg="add">
          <ac:chgData name="An, Andi" userId="7d8fd2d9-15e6-42a9-b3d3-ab6005dbdb91" providerId="ADAL" clId="{E3CFCD4E-B6F2-4109-ABFB-658541FAC6E7}" dt="2022-06-05T16:10:37.727" v="7"/>
          <ac:spMkLst>
            <pc:docMk/>
            <pc:sldMasterMk cId="2764746016" sldId="2147483753"/>
            <ac:spMk id="7" creationId="{F228EF7D-611F-4276-BFDA-35261F9EC328}"/>
          </ac:spMkLst>
        </pc:spChg>
        <pc:sldLayoutChg chg="modTransition">
          <pc:chgData name="An, Andi" userId="7d8fd2d9-15e6-42a9-b3d3-ab6005dbdb91" providerId="ADAL" clId="{E3CFCD4E-B6F2-4109-ABFB-658541FAC6E7}" dt="2022-06-05T16:10:37.727" v="7"/>
          <pc:sldLayoutMkLst>
            <pc:docMk/>
            <pc:sldMasterMk cId="2764746016" sldId="2147483753"/>
            <pc:sldLayoutMk cId="3883985507" sldId="2147483759"/>
          </pc:sldLayoutMkLst>
        </pc:sldLayoutChg>
        <pc:sldLayoutChg chg="modTransition">
          <pc:chgData name="An, Andi" userId="7d8fd2d9-15e6-42a9-b3d3-ab6005dbdb91" providerId="ADAL" clId="{E3CFCD4E-B6F2-4109-ABFB-658541FAC6E7}" dt="2022-06-05T16:10:37.727" v="7"/>
          <pc:sldLayoutMkLst>
            <pc:docMk/>
            <pc:sldMasterMk cId="2764746016" sldId="2147483753"/>
            <pc:sldLayoutMk cId="2345833574" sldId="2147483760"/>
          </pc:sldLayoutMkLst>
        </pc:sldLayoutChg>
        <pc:sldLayoutChg chg="delSp">
          <pc:chgData name="An, Andi" userId="7d8fd2d9-15e6-42a9-b3d3-ab6005dbdb91" providerId="ADAL" clId="{E3CFCD4E-B6F2-4109-ABFB-658541FAC6E7}" dt="2022-06-05T16:10:37.727" v="7"/>
          <pc:sldLayoutMkLst>
            <pc:docMk/>
            <pc:sldMasterMk cId="2764746016" sldId="2147483753"/>
            <pc:sldLayoutMk cId="466254696" sldId="2147483765"/>
          </pc:sldLayoutMkLst>
          <pc:grpChg chg="del">
            <ac:chgData name="An, Andi" userId="7d8fd2d9-15e6-42a9-b3d3-ab6005dbdb91" providerId="ADAL" clId="{E3CFCD4E-B6F2-4109-ABFB-658541FAC6E7}" dt="2022-06-05T16:10:37.727" v="7"/>
            <ac:grpSpMkLst>
              <pc:docMk/>
              <pc:sldMasterMk cId="2764746016" sldId="2147483753"/>
              <pc:sldLayoutMk cId="466254696" sldId="2147483765"/>
              <ac:grpSpMk id="30" creationId="{E9ED29CA-6A60-490D-9D54-EA7CC7AF832C}"/>
            </ac:grpSpMkLst>
          </pc:grpChg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26.135" v="325"/>
        <pc:sldMasterMkLst>
          <pc:docMk/>
          <pc:sldMasterMk cId="2855353209" sldId="2147483767"/>
        </pc:sldMasterMkLst>
        <pc:spChg chg="add">
          <ac:chgData name="An, Andi" userId="7d8fd2d9-15e6-42a9-b3d3-ab6005dbdb91" providerId="ADAL" clId="{E3CFCD4E-B6F2-4109-ABFB-658541FAC6E7}" dt="2022-06-05T16:22:26.135" v="325"/>
          <ac:spMkLst>
            <pc:docMk/>
            <pc:sldMasterMk cId="2855353209" sldId="2147483767"/>
            <ac:spMk id="7" creationId="{CD0BFE7F-25CD-4F0B-AF72-8633F9B1BEB7}"/>
          </ac:spMkLst>
        </pc:spChg>
        <pc:sldLayoutChg chg="modTransition">
          <pc:chgData name="An, Andi" userId="7d8fd2d9-15e6-42a9-b3d3-ab6005dbdb91" providerId="ADAL" clId="{E3CFCD4E-B6F2-4109-ABFB-658541FAC6E7}" dt="2022-06-05T16:22:26.135" v="325"/>
          <pc:sldLayoutMkLst>
            <pc:docMk/>
            <pc:sldMasterMk cId="2855353209" sldId="2147483767"/>
            <pc:sldLayoutMk cId="2817237924" sldId="2147483773"/>
          </pc:sldLayoutMkLst>
        </pc:sldLayoutChg>
        <pc:sldLayoutChg chg="modTransition">
          <pc:chgData name="An, Andi" userId="7d8fd2d9-15e6-42a9-b3d3-ab6005dbdb91" providerId="ADAL" clId="{E3CFCD4E-B6F2-4109-ABFB-658541FAC6E7}" dt="2022-06-05T16:22:26.135" v="325"/>
          <pc:sldLayoutMkLst>
            <pc:docMk/>
            <pc:sldMasterMk cId="2855353209" sldId="2147483767"/>
            <pc:sldLayoutMk cId="1801737120" sldId="2147483774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3.159" v="326"/>
        <pc:sldMasterMkLst>
          <pc:docMk/>
          <pc:sldMasterMk cId="2344896640" sldId="2147483781"/>
        </pc:sldMasterMkLst>
        <pc:spChg chg="add">
          <ac:chgData name="An, Andi" userId="7d8fd2d9-15e6-42a9-b3d3-ab6005dbdb91" providerId="ADAL" clId="{E3CFCD4E-B6F2-4109-ABFB-658541FAC6E7}" dt="2022-06-05T16:22:33.159" v="326"/>
          <ac:spMkLst>
            <pc:docMk/>
            <pc:sldMasterMk cId="2344896640" sldId="2147483781"/>
            <ac:spMk id="7" creationId="{70960F64-FD9B-4F1B-A561-E5F7983EA0F0}"/>
          </ac:spMkLst>
        </pc:spChg>
        <pc:sldLayoutChg chg="modTransition">
          <pc:chgData name="An, Andi" userId="7d8fd2d9-15e6-42a9-b3d3-ab6005dbdb91" providerId="ADAL" clId="{E3CFCD4E-B6F2-4109-ABFB-658541FAC6E7}" dt="2022-06-05T16:22:33.159" v="326"/>
          <pc:sldLayoutMkLst>
            <pc:docMk/>
            <pc:sldMasterMk cId="2344896640" sldId="2147483781"/>
            <pc:sldLayoutMk cId="769411831" sldId="2147483787"/>
          </pc:sldLayoutMkLst>
        </pc:sldLayoutChg>
        <pc:sldLayoutChg chg="modTransition">
          <pc:chgData name="An, Andi" userId="7d8fd2d9-15e6-42a9-b3d3-ab6005dbdb91" providerId="ADAL" clId="{E3CFCD4E-B6F2-4109-ABFB-658541FAC6E7}" dt="2022-06-05T16:22:33.159" v="326"/>
          <pc:sldLayoutMkLst>
            <pc:docMk/>
            <pc:sldMasterMk cId="2344896640" sldId="2147483781"/>
            <pc:sldLayoutMk cId="183866897" sldId="2147483788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3.975" v="327"/>
        <pc:sldMasterMkLst>
          <pc:docMk/>
          <pc:sldMasterMk cId="3786908552" sldId="2147483795"/>
        </pc:sldMasterMkLst>
        <pc:spChg chg="add">
          <ac:chgData name="An, Andi" userId="7d8fd2d9-15e6-42a9-b3d3-ab6005dbdb91" providerId="ADAL" clId="{E3CFCD4E-B6F2-4109-ABFB-658541FAC6E7}" dt="2022-06-05T16:22:33.975" v="327"/>
          <ac:spMkLst>
            <pc:docMk/>
            <pc:sldMasterMk cId="3786908552" sldId="2147483795"/>
            <ac:spMk id="7" creationId="{6A8CCB79-C471-4D57-9614-C705FC9CACA9}"/>
          </ac:spMkLst>
        </pc:spChg>
        <pc:sldLayoutChg chg="modTransition">
          <pc:chgData name="An, Andi" userId="7d8fd2d9-15e6-42a9-b3d3-ab6005dbdb91" providerId="ADAL" clId="{E3CFCD4E-B6F2-4109-ABFB-658541FAC6E7}" dt="2022-06-05T16:22:33.975" v="327"/>
          <pc:sldLayoutMkLst>
            <pc:docMk/>
            <pc:sldMasterMk cId="3786908552" sldId="2147483795"/>
            <pc:sldLayoutMk cId="3792475364" sldId="2147483801"/>
          </pc:sldLayoutMkLst>
        </pc:sldLayoutChg>
        <pc:sldLayoutChg chg="modTransition">
          <pc:chgData name="An, Andi" userId="7d8fd2d9-15e6-42a9-b3d3-ab6005dbdb91" providerId="ADAL" clId="{E3CFCD4E-B6F2-4109-ABFB-658541FAC6E7}" dt="2022-06-05T16:22:33.975" v="327"/>
          <pc:sldLayoutMkLst>
            <pc:docMk/>
            <pc:sldMasterMk cId="3786908552" sldId="2147483795"/>
            <pc:sldLayoutMk cId="206240298" sldId="2147483802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4.759" v="328"/>
        <pc:sldMasterMkLst>
          <pc:docMk/>
          <pc:sldMasterMk cId="2810499646" sldId="2147483809"/>
        </pc:sldMasterMkLst>
        <pc:spChg chg="add">
          <ac:chgData name="An, Andi" userId="7d8fd2d9-15e6-42a9-b3d3-ab6005dbdb91" providerId="ADAL" clId="{E3CFCD4E-B6F2-4109-ABFB-658541FAC6E7}" dt="2022-06-05T16:22:34.759" v="328"/>
          <ac:spMkLst>
            <pc:docMk/>
            <pc:sldMasterMk cId="2810499646" sldId="2147483809"/>
            <ac:spMk id="7" creationId="{DCB81888-19DC-4022-9B67-C64C03CB8966}"/>
          </ac:spMkLst>
        </pc:spChg>
        <pc:sldLayoutChg chg="modTransition">
          <pc:chgData name="An, Andi" userId="7d8fd2d9-15e6-42a9-b3d3-ab6005dbdb91" providerId="ADAL" clId="{E3CFCD4E-B6F2-4109-ABFB-658541FAC6E7}" dt="2022-06-05T16:22:34.759" v="328"/>
          <pc:sldLayoutMkLst>
            <pc:docMk/>
            <pc:sldMasterMk cId="2810499646" sldId="2147483809"/>
            <pc:sldLayoutMk cId="3142611271" sldId="2147483815"/>
          </pc:sldLayoutMkLst>
        </pc:sldLayoutChg>
        <pc:sldLayoutChg chg="modTransition">
          <pc:chgData name="An, Andi" userId="7d8fd2d9-15e6-42a9-b3d3-ab6005dbdb91" providerId="ADAL" clId="{E3CFCD4E-B6F2-4109-ABFB-658541FAC6E7}" dt="2022-06-05T16:22:34.759" v="328"/>
          <pc:sldLayoutMkLst>
            <pc:docMk/>
            <pc:sldMasterMk cId="2810499646" sldId="2147483809"/>
            <pc:sldLayoutMk cId="2649711960" sldId="2147483816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7.893" v="329"/>
        <pc:sldMasterMkLst>
          <pc:docMk/>
          <pc:sldMasterMk cId="2883785178" sldId="2147483823"/>
        </pc:sldMasterMkLst>
        <pc:spChg chg="add">
          <ac:chgData name="An, Andi" userId="7d8fd2d9-15e6-42a9-b3d3-ab6005dbdb91" providerId="ADAL" clId="{E3CFCD4E-B6F2-4109-ABFB-658541FAC6E7}" dt="2022-06-05T16:22:37.893" v="329"/>
          <ac:spMkLst>
            <pc:docMk/>
            <pc:sldMasterMk cId="2883785178" sldId="2147483823"/>
            <ac:spMk id="7" creationId="{016D99CC-A774-41BD-AD18-5A13D6BF4296}"/>
          </ac:spMkLst>
        </pc:spChg>
        <pc:sldLayoutChg chg="modTransition">
          <pc:chgData name="An, Andi" userId="7d8fd2d9-15e6-42a9-b3d3-ab6005dbdb91" providerId="ADAL" clId="{E3CFCD4E-B6F2-4109-ABFB-658541FAC6E7}" dt="2022-06-05T16:22:37.893" v="329"/>
          <pc:sldLayoutMkLst>
            <pc:docMk/>
            <pc:sldMasterMk cId="2883785178" sldId="2147483823"/>
            <pc:sldLayoutMk cId="4020701404" sldId="2147483829"/>
          </pc:sldLayoutMkLst>
        </pc:sldLayoutChg>
        <pc:sldLayoutChg chg="modTransition">
          <pc:chgData name="An, Andi" userId="7d8fd2d9-15e6-42a9-b3d3-ab6005dbdb91" providerId="ADAL" clId="{E3CFCD4E-B6F2-4109-ABFB-658541FAC6E7}" dt="2022-06-05T16:22:37.893" v="329"/>
          <pc:sldLayoutMkLst>
            <pc:docMk/>
            <pc:sldMasterMk cId="2883785178" sldId="2147483823"/>
            <pc:sldLayoutMk cId="4271742138" sldId="2147483830"/>
          </pc:sldLayoutMkLst>
        </pc:sldLayoutChg>
      </pc:sldMasterChg>
      <pc:sldMasterChg chg="addSp modTransition delSldLayout modSldLayout">
        <pc:chgData name="An, Andi" userId="7d8fd2d9-15e6-42a9-b3d3-ab6005dbdb91" providerId="ADAL" clId="{E3CFCD4E-B6F2-4109-ABFB-658541FAC6E7}" dt="2022-06-05T16:24:18.912" v="356" actId="47"/>
        <pc:sldMasterMkLst>
          <pc:docMk/>
          <pc:sldMasterMk cId="3131530818" sldId="2147483837"/>
        </pc:sldMasterMkLst>
        <pc:spChg chg="add">
          <ac:chgData name="An, Andi" userId="7d8fd2d9-15e6-42a9-b3d3-ab6005dbdb91" providerId="ADAL" clId="{E3CFCD4E-B6F2-4109-ABFB-658541FAC6E7}" dt="2022-06-05T16:22:48.358" v="330"/>
          <ac:spMkLst>
            <pc:docMk/>
            <pc:sldMasterMk cId="3131530818" sldId="2147483837"/>
            <ac:spMk id="7" creationId="{23378636-AD3C-4C48-BF3F-F0DFB38E2B5F}"/>
          </ac:spMkLst>
        </pc:spChg>
        <pc:sldLayoutChg chg="modTransition">
          <pc:chgData name="An, Andi" userId="7d8fd2d9-15e6-42a9-b3d3-ab6005dbdb91" providerId="ADAL" clId="{E3CFCD4E-B6F2-4109-ABFB-658541FAC6E7}" dt="2022-06-05T16:22:48.358" v="330"/>
          <pc:sldLayoutMkLst>
            <pc:docMk/>
            <pc:sldMasterMk cId="3131530818" sldId="2147483837"/>
            <pc:sldLayoutMk cId="2286545346" sldId="2147483843"/>
          </pc:sldLayoutMkLst>
        </pc:sldLayoutChg>
        <pc:sldLayoutChg chg="modTransition">
          <pc:chgData name="An, Andi" userId="7d8fd2d9-15e6-42a9-b3d3-ab6005dbdb91" providerId="ADAL" clId="{E3CFCD4E-B6F2-4109-ABFB-658541FAC6E7}" dt="2022-06-05T16:22:48.358" v="330"/>
          <pc:sldLayoutMkLst>
            <pc:docMk/>
            <pc:sldMasterMk cId="3131530818" sldId="2147483837"/>
            <pc:sldLayoutMk cId="2716683968" sldId="2147483844"/>
          </pc:sldLayoutMkLst>
        </pc:sldLayoutChg>
        <pc:sldLayoutChg chg="del">
          <pc:chgData name="An, Andi" userId="7d8fd2d9-15e6-42a9-b3d3-ab6005dbdb91" providerId="ADAL" clId="{E3CFCD4E-B6F2-4109-ABFB-658541FAC6E7}" dt="2022-06-05T16:24:18.912" v="356" actId="47"/>
          <pc:sldLayoutMkLst>
            <pc:docMk/>
            <pc:sldMasterMk cId="3131530818" sldId="2147483837"/>
            <pc:sldLayoutMk cId="2957155911" sldId="2147483850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8:41.001" v="399"/>
        <pc:sldMasterMkLst>
          <pc:docMk/>
          <pc:sldMasterMk cId="2537355006" sldId="2147483850"/>
        </pc:sldMasterMkLst>
        <pc:spChg chg="add">
          <ac:chgData name="An, Andi" userId="7d8fd2d9-15e6-42a9-b3d3-ab6005dbdb91" providerId="ADAL" clId="{E3CFCD4E-B6F2-4109-ABFB-658541FAC6E7}" dt="2022-06-05T16:28:41.001" v="399"/>
          <ac:spMkLst>
            <pc:docMk/>
            <pc:sldMasterMk cId="2537355006" sldId="2147483850"/>
            <ac:spMk id="7" creationId="{8A0F55B5-F920-4D30-821E-D05CF6A0519C}"/>
          </ac:spMkLst>
        </pc:spChg>
        <pc:sldLayoutChg chg="modTransition">
          <pc:chgData name="An, Andi" userId="7d8fd2d9-15e6-42a9-b3d3-ab6005dbdb91" providerId="ADAL" clId="{E3CFCD4E-B6F2-4109-ABFB-658541FAC6E7}" dt="2022-06-05T16:28:41.001" v="399"/>
          <pc:sldLayoutMkLst>
            <pc:docMk/>
            <pc:sldMasterMk cId="2537355006" sldId="2147483850"/>
            <pc:sldLayoutMk cId="2452339662" sldId="2147483856"/>
          </pc:sldLayoutMkLst>
        </pc:sldLayoutChg>
        <pc:sldLayoutChg chg="modTransition">
          <pc:chgData name="An, Andi" userId="7d8fd2d9-15e6-42a9-b3d3-ab6005dbdb91" providerId="ADAL" clId="{E3CFCD4E-B6F2-4109-ABFB-658541FAC6E7}" dt="2022-06-05T16:28:41.001" v="399"/>
          <pc:sldLayoutMkLst>
            <pc:docMk/>
            <pc:sldMasterMk cId="2537355006" sldId="2147483850"/>
            <pc:sldLayoutMk cId="334672599" sldId="2147483857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8:52.052" v="401"/>
        <pc:sldMasterMkLst>
          <pc:docMk/>
          <pc:sldMasterMk cId="3917225974" sldId="2147483863"/>
        </pc:sldMasterMkLst>
        <pc:spChg chg="add">
          <ac:chgData name="An, Andi" userId="7d8fd2d9-15e6-42a9-b3d3-ab6005dbdb91" providerId="ADAL" clId="{E3CFCD4E-B6F2-4109-ABFB-658541FAC6E7}" dt="2022-06-05T16:28:43.350" v="400"/>
          <ac:spMkLst>
            <pc:docMk/>
            <pc:sldMasterMk cId="3917225974" sldId="2147483863"/>
            <ac:spMk id="7" creationId="{675C7997-55D6-4F10-8121-F7EA5F7D1136}"/>
          </ac:spMkLst>
        </pc:sp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2586611605" sldId="2147483744"/>
          </pc:sldLayoutMkLst>
        </pc:sldLayout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610601568" sldId="2147483745"/>
          </pc:sldLayoutMkLst>
        </pc:sldLayout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1458128405" sldId="2147483749"/>
          </pc:sldLayoutMkLst>
        </pc:sldLayout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468530607" sldId="2147483750"/>
          </pc:sldLayoutMkLst>
        </pc:sldLayoutChg>
        <pc:sldLayoutChg chg="modTransition">
          <pc:chgData name="An, Andi" userId="7d8fd2d9-15e6-42a9-b3d3-ab6005dbdb91" providerId="ADAL" clId="{E3CFCD4E-B6F2-4109-ABFB-658541FAC6E7}" dt="2022-06-05T16:28:43.350" v="400"/>
          <pc:sldLayoutMkLst>
            <pc:docMk/>
            <pc:sldMasterMk cId="3917225974" sldId="2147483863"/>
            <pc:sldLayoutMk cId="4074373051" sldId="2147483869"/>
          </pc:sldLayoutMkLst>
        </pc:sldLayoutChg>
        <pc:sldLayoutChg chg="modTransition">
          <pc:chgData name="An, Andi" userId="7d8fd2d9-15e6-42a9-b3d3-ab6005dbdb91" providerId="ADAL" clId="{E3CFCD4E-B6F2-4109-ABFB-658541FAC6E7}" dt="2022-06-05T16:28:43.350" v="400"/>
          <pc:sldLayoutMkLst>
            <pc:docMk/>
            <pc:sldMasterMk cId="3917225974" sldId="2147483863"/>
            <pc:sldLayoutMk cId="1360793368" sldId="2147483870"/>
          </pc:sldLayoutMkLst>
        </pc:sldLayoutChg>
      </pc:sldMasterChg>
      <pc:sldMasterChg chg="modSldLayout">
        <pc:chgData name="An, Andi" userId="7d8fd2d9-15e6-42a9-b3d3-ab6005dbdb91" providerId="ADAL" clId="{E3CFCD4E-B6F2-4109-ABFB-658541FAC6E7}" dt="2022-06-05T16:28:58.193" v="403"/>
        <pc:sldMasterMkLst>
          <pc:docMk/>
          <pc:sldMasterMk cId="4000864526" sldId="2147483878"/>
        </pc:sldMasterMkLst>
        <pc:sldLayoutChg chg="addSp">
          <pc:chgData name="An, Andi" userId="7d8fd2d9-15e6-42a9-b3d3-ab6005dbdb91" providerId="ADAL" clId="{E3CFCD4E-B6F2-4109-ABFB-658541FAC6E7}" dt="2022-06-05T16:28:58.193" v="403"/>
          <pc:sldLayoutMkLst>
            <pc:docMk/>
            <pc:sldMasterMk cId="4000864526" sldId="2147483878"/>
            <pc:sldLayoutMk cId="1632462245" sldId="2147483881"/>
          </pc:sldLayoutMkLst>
          <pc:picChg chg="add">
            <ac:chgData name="An, Andi" userId="7d8fd2d9-15e6-42a9-b3d3-ab6005dbdb91" providerId="ADAL" clId="{E3CFCD4E-B6F2-4109-ABFB-658541FAC6E7}" dt="2022-06-05T16:28:58.193" v="403"/>
            <ac:picMkLst>
              <pc:docMk/>
              <pc:sldMasterMk cId="4000864526" sldId="2147483878"/>
              <pc:sldLayoutMk cId="1632462245" sldId="2147483881"/>
              <ac:picMk id="7" creationId="{B6FEA730-3CEA-4FFC-A3E9-15D63F3F4BF9}"/>
            </ac:picMkLst>
          </pc:picChg>
        </pc:sldLayoutChg>
      </pc:sldMasterChg>
    </pc:docChg>
  </pc:docChgLst>
  <pc:docChgLst>
    <pc:chgData name="Saini, Manjot" userId="b2ea84a4-4c5b-42db-956c-38781f11d4ac" providerId="ADAL" clId="{8D9DEAC2-50CF-415E-A98E-9DD0620D154A}"/>
    <pc:docChg chg="undo custSel addSld delSld modSld sldOrd">
      <pc:chgData name="Saini, Manjot" userId="b2ea84a4-4c5b-42db-956c-38781f11d4ac" providerId="ADAL" clId="{8D9DEAC2-50CF-415E-A98E-9DD0620D154A}" dt="2022-05-25T18:18:04.233" v="2123" actId="20577"/>
      <pc:docMkLst>
        <pc:docMk/>
      </pc:docMkLst>
      <pc:sldChg chg="modSp mod">
        <pc:chgData name="Saini, Manjot" userId="b2ea84a4-4c5b-42db-956c-38781f11d4ac" providerId="ADAL" clId="{8D9DEAC2-50CF-415E-A98E-9DD0620D154A}" dt="2022-05-25T18:18:04.233" v="2123" actId="20577"/>
        <pc:sldMkLst>
          <pc:docMk/>
          <pc:sldMk cId="3984577434" sldId="402"/>
        </pc:sldMkLst>
        <pc:spChg chg="mod">
          <ac:chgData name="Saini, Manjot" userId="b2ea84a4-4c5b-42db-956c-38781f11d4ac" providerId="ADAL" clId="{8D9DEAC2-50CF-415E-A98E-9DD0620D154A}" dt="2022-05-25T18:18:04.233" v="2123" actId="20577"/>
          <ac:spMkLst>
            <pc:docMk/>
            <pc:sldMk cId="3984577434" sldId="402"/>
            <ac:spMk id="6" creationId="{B17CD2C9-81C0-430E-9EFD-EDFA0861E223}"/>
          </ac:spMkLst>
        </pc:spChg>
      </pc:sldChg>
      <pc:sldChg chg="add">
        <pc:chgData name="Saini, Manjot" userId="b2ea84a4-4c5b-42db-956c-38781f11d4ac" providerId="ADAL" clId="{8D9DEAC2-50CF-415E-A98E-9DD0620D154A}" dt="2022-05-25T17:38:49.316" v="2068"/>
        <pc:sldMkLst>
          <pc:docMk/>
          <pc:sldMk cId="3250818189" sldId="8012"/>
        </pc:sldMkLst>
      </pc:sldChg>
      <pc:sldChg chg="modSp add mod">
        <pc:chgData name="Saini, Manjot" userId="b2ea84a4-4c5b-42db-956c-38781f11d4ac" providerId="ADAL" clId="{8D9DEAC2-50CF-415E-A98E-9DD0620D154A}" dt="2022-05-24T15:51:31.095" v="618" actId="20577"/>
        <pc:sldMkLst>
          <pc:docMk/>
          <pc:sldMk cId="3443861770" sldId="2142533301"/>
        </pc:sldMkLst>
        <pc:graphicFrameChg chg="mod modGraphic">
          <ac:chgData name="Saini, Manjot" userId="b2ea84a4-4c5b-42db-956c-38781f11d4ac" providerId="ADAL" clId="{8D9DEAC2-50CF-415E-A98E-9DD0620D154A}" dt="2022-05-24T15:51:31.095" v="618" actId="20577"/>
          <ac:graphicFrameMkLst>
            <pc:docMk/>
            <pc:sldMk cId="3443861770" sldId="2142533301"/>
            <ac:graphicFrameMk id="7" creationId="{9A665738-253C-4818-8316-6D6FA3F892F4}"/>
          </ac:graphicFrameMkLst>
        </pc:graphicFrameChg>
      </pc:sldChg>
      <pc:sldChg chg="addSp modSp add mod">
        <pc:chgData name="Saini, Manjot" userId="b2ea84a4-4c5b-42db-956c-38781f11d4ac" providerId="ADAL" clId="{8D9DEAC2-50CF-415E-A98E-9DD0620D154A}" dt="2022-05-24T15:54:42.389" v="654" actId="20577"/>
        <pc:sldMkLst>
          <pc:docMk/>
          <pc:sldMk cId="1462250193" sldId="2142533306"/>
        </pc:sldMkLst>
        <pc:spChg chg="add mod">
          <ac:chgData name="Saini, Manjot" userId="b2ea84a4-4c5b-42db-956c-38781f11d4ac" providerId="ADAL" clId="{8D9DEAC2-50CF-415E-A98E-9DD0620D154A}" dt="2022-05-24T15:54:02.971" v="624"/>
          <ac:spMkLst>
            <pc:docMk/>
            <pc:sldMk cId="1462250193" sldId="2142533306"/>
            <ac:spMk id="4" creationId="{6E67869C-F3D2-4200-913A-C5F8EB7A2A13}"/>
          </ac:spMkLst>
        </pc:spChg>
        <pc:spChg chg="add mod">
          <ac:chgData name="Saini, Manjot" userId="b2ea84a4-4c5b-42db-956c-38781f11d4ac" providerId="ADAL" clId="{8D9DEAC2-50CF-415E-A98E-9DD0620D154A}" dt="2022-05-24T15:54:42.389" v="654" actId="20577"/>
          <ac:spMkLst>
            <pc:docMk/>
            <pc:sldMk cId="1462250193" sldId="2142533306"/>
            <ac:spMk id="5" creationId="{176B637C-40FA-4306-9C0A-0FFFCF433743}"/>
          </ac:spMkLst>
        </pc:spChg>
        <pc:spChg chg="mod">
          <ac:chgData name="Saini, Manjot" userId="b2ea84a4-4c5b-42db-956c-38781f11d4ac" providerId="ADAL" clId="{8D9DEAC2-50CF-415E-A98E-9DD0620D154A}" dt="2022-05-24T15:53:35.687" v="619" actId="20577"/>
          <ac:spMkLst>
            <pc:docMk/>
            <pc:sldMk cId="1462250193" sldId="2142533306"/>
            <ac:spMk id="6" creationId="{F52B09EA-55D6-48CC-A8CC-D99C8C87CE59}"/>
          </ac:spMkLst>
        </pc:spChg>
      </pc:sldChg>
      <pc:sldChg chg="addSp modSp add mod">
        <pc:chgData name="Saini, Manjot" userId="b2ea84a4-4c5b-42db-956c-38781f11d4ac" providerId="ADAL" clId="{8D9DEAC2-50CF-415E-A98E-9DD0620D154A}" dt="2022-05-24T15:55:24.335" v="683" actId="20577"/>
        <pc:sldMkLst>
          <pc:docMk/>
          <pc:sldMk cId="51800881" sldId="2142533307"/>
        </pc:sldMkLst>
        <pc:spChg chg="add mod">
          <ac:chgData name="Saini, Manjot" userId="b2ea84a4-4c5b-42db-956c-38781f11d4ac" providerId="ADAL" clId="{8D9DEAC2-50CF-415E-A98E-9DD0620D154A}" dt="2022-05-24T15:55:14.026" v="656"/>
          <ac:spMkLst>
            <pc:docMk/>
            <pc:sldMk cId="51800881" sldId="2142533307"/>
            <ac:spMk id="4" creationId="{5E1F34D7-9E3D-4908-883B-31A1A6C1A178}"/>
          </ac:spMkLst>
        </pc:spChg>
        <pc:spChg chg="add mod">
          <ac:chgData name="Saini, Manjot" userId="b2ea84a4-4c5b-42db-956c-38781f11d4ac" providerId="ADAL" clId="{8D9DEAC2-50CF-415E-A98E-9DD0620D154A}" dt="2022-05-24T15:55:24.335" v="683" actId="20577"/>
          <ac:spMkLst>
            <pc:docMk/>
            <pc:sldMk cId="51800881" sldId="2142533307"/>
            <ac:spMk id="5" creationId="{37A9D477-F62D-4C5D-AEA7-99AE2767C291}"/>
          </ac:spMkLst>
        </pc:spChg>
        <pc:spChg chg="mod">
          <ac:chgData name="Saini, Manjot" userId="b2ea84a4-4c5b-42db-956c-38781f11d4ac" providerId="ADAL" clId="{8D9DEAC2-50CF-415E-A98E-9DD0620D154A}" dt="2022-05-24T15:53:44.545" v="621" actId="20577"/>
          <ac:spMkLst>
            <pc:docMk/>
            <pc:sldMk cId="51800881" sldId="2142533307"/>
            <ac:spMk id="6" creationId="{F52B09EA-55D6-48CC-A8CC-D99C8C87CE59}"/>
          </ac:spMkLst>
        </pc:spChg>
      </pc:sldChg>
      <pc:sldChg chg="addSp modSp add mod">
        <pc:chgData name="Saini, Manjot" userId="b2ea84a4-4c5b-42db-956c-38781f11d4ac" providerId="ADAL" clId="{8D9DEAC2-50CF-415E-A98E-9DD0620D154A}" dt="2022-05-24T15:55:29.523" v="684"/>
        <pc:sldMkLst>
          <pc:docMk/>
          <pc:sldMk cId="654138156" sldId="2142533310"/>
        </pc:sldMkLst>
        <pc:spChg chg="add mod">
          <ac:chgData name="Saini, Manjot" userId="b2ea84a4-4c5b-42db-956c-38781f11d4ac" providerId="ADAL" clId="{8D9DEAC2-50CF-415E-A98E-9DD0620D154A}" dt="2022-05-24T15:55:29.523" v="684"/>
          <ac:spMkLst>
            <pc:docMk/>
            <pc:sldMk cId="654138156" sldId="2142533310"/>
            <ac:spMk id="4" creationId="{54D0EA07-EF9B-496E-8F03-ADD405C1897A}"/>
          </ac:spMkLst>
        </pc:spChg>
        <pc:spChg chg="add mod">
          <ac:chgData name="Saini, Manjot" userId="b2ea84a4-4c5b-42db-956c-38781f11d4ac" providerId="ADAL" clId="{8D9DEAC2-50CF-415E-A98E-9DD0620D154A}" dt="2022-05-24T15:55:29.523" v="684"/>
          <ac:spMkLst>
            <pc:docMk/>
            <pc:sldMk cId="654138156" sldId="2142533310"/>
            <ac:spMk id="5" creationId="{5E963D0A-F405-41E1-B7DE-43FF1058E98D}"/>
          </ac:spMkLst>
        </pc:spChg>
        <pc:spChg chg="mod">
          <ac:chgData name="Saini, Manjot" userId="b2ea84a4-4c5b-42db-956c-38781f11d4ac" providerId="ADAL" clId="{8D9DEAC2-50CF-415E-A98E-9DD0620D154A}" dt="2022-05-24T15:53:48.365" v="622" actId="20577"/>
          <ac:spMkLst>
            <pc:docMk/>
            <pc:sldMk cId="654138156" sldId="2142533310"/>
            <ac:spMk id="6" creationId="{F52B09EA-55D6-48CC-A8CC-D99C8C87CE59}"/>
          </ac:spMkLst>
        </pc:spChg>
      </pc:sldChg>
      <pc:sldChg chg="addSp modSp add mod">
        <pc:chgData name="Saini, Manjot" userId="b2ea84a4-4c5b-42db-956c-38781f11d4ac" providerId="ADAL" clId="{8D9DEAC2-50CF-415E-A98E-9DD0620D154A}" dt="2022-05-24T15:55:53.565" v="702" actId="20577"/>
        <pc:sldMkLst>
          <pc:docMk/>
          <pc:sldMk cId="3410407603" sldId="2142533322"/>
        </pc:sldMkLst>
        <pc:spChg chg="add mod">
          <ac:chgData name="Saini, Manjot" userId="b2ea84a4-4c5b-42db-956c-38781f11d4ac" providerId="ADAL" clId="{8D9DEAC2-50CF-415E-A98E-9DD0620D154A}" dt="2022-05-24T15:55:45.283" v="685"/>
          <ac:spMkLst>
            <pc:docMk/>
            <pc:sldMk cId="3410407603" sldId="2142533322"/>
            <ac:spMk id="4" creationId="{9B6F60FE-A6D3-4B64-A4EC-E1E7C00926FC}"/>
          </ac:spMkLst>
        </pc:spChg>
        <pc:spChg chg="add mod">
          <ac:chgData name="Saini, Manjot" userId="b2ea84a4-4c5b-42db-956c-38781f11d4ac" providerId="ADAL" clId="{8D9DEAC2-50CF-415E-A98E-9DD0620D154A}" dt="2022-05-24T15:55:53.565" v="702" actId="20577"/>
          <ac:spMkLst>
            <pc:docMk/>
            <pc:sldMk cId="3410407603" sldId="2142533322"/>
            <ac:spMk id="5" creationId="{E8105571-AFA4-4253-AED1-A1299368B65E}"/>
          </ac:spMkLst>
        </pc:spChg>
        <pc:spChg chg="mod">
          <ac:chgData name="Saini, Manjot" userId="b2ea84a4-4c5b-42db-956c-38781f11d4ac" providerId="ADAL" clId="{8D9DEAC2-50CF-415E-A98E-9DD0620D154A}" dt="2022-05-24T15:53:54.299" v="623" actId="20577"/>
          <ac:spMkLst>
            <pc:docMk/>
            <pc:sldMk cId="3410407603" sldId="2142533322"/>
            <ac:spMk id="6" creationId="{F52B09EA-55D6-48CC-A8CC-D99C8C87CE59}"/>
          </ac:spMkLst>
        </pc:spChg>
      </pc:sldChg>
      <pc:sldChg chg="add">
        <pc:chgData name="Saini, Manjot" userId="b2ea84a4-4c5b-42db-956c-38781f11d4ac" providerId="ADAL" clId="{8D9DEAC2-50CF-415E-A98E-9DD0620D154A}" dt="2022-05-24T14:54:11.640" v="232"/>
        <pc:sldMkLst>
          <pc:docMk/>
          <pc:sldMk cId="3619494874" sldId="2142533337"/>
        </pc:sldMkLst>
      </pc:sldChg>
      <pc:sldChg chg="modSp add mod">
        <pc:chgData name="Saini, Manjot" userId="b2ea84a4-4c5b-42db-956c-38781f11d4ac" providerId="ADAL" clId="{8D9DEAC2-50CF-415E-A98E-9DD0620D154A}" dt="2022-05-25T17:40:39.229" v="2119" actId="20577"/>
        <pc:sldMkLst>
          <pc:docMk/>
          <pc:sldMk cId="2314476678" sldId="2142533338"/>
        </pc:sldMkLst>
        <pc:graphicFrameChg chg="modGraphic">
          <ac:chgData name="Saini, Manjot" userId="b2ea84a4-4c5b-42db-956c-38781f11d4ac" providerId="ADAL" clId="{8D9DEAC2-50CF-415E-A98E-9DD0620D154A}" dt="2022-05-25T17:40:39.229" v="2119" actId="20577"/>
          <ac:graphicFrameMkLst>
            <pc:docMk/>
            <pc:sldMk cId="2314476678" sldId="2142533338"/>
            <ac:graphicFrameMk id="7" creationId="{9A665738-253C-4818-8316-6D6FA3F892F4}"/>
          </ac:graphicFrameMkLst>
        </pc:graphicFrameChg>
      </pc:sldChg>
      <pc:sldChg chg="addSp modSp add mod">
        <pc:chgData name="Saini, Manjot" userId="b2ea84a4-4c5b-42db-956c-38781f11d4ac" providerId="ADAL" clId="{8D9DEAC2-50CF-415E-A98E-9DD0620D154A}" dt="2022-05-24T15:54:55.413" v="655"/>
        <pc:sldMkLst>
          <pc:docMk/>
          <pc:sldMk cId="2216987548" sldId="2142533339"/>
        </pc:sldMkLst>
        <pc:spChg chg="add mod">
          <ac:chgData name="Saini, Manjot" userId="b2ea84a4-4c5b-42db-956c-38781f11d4ac" providerId="ADAL" clId="{8D9DEAC2-50CF-415E-A98E-9DD0620D154A}" dt="2022-05-24T15:54:55.413" v="655"/>
          <ac:spMkLst>
            <pc:docMk/>
            <pc:sldMk cId="2216987548" sldId="2142533339"/>
            <ac:spMk id="4" creationId="{010812E9-1DD6-463B-B981-53A893F97756}"/>
          </ac:spMkLst>
        </pc:spChg>
        <pc:spChg chg="add mod">
          <ac:chgData name="Saini, Manjot" userId="b2ea84a4-4c5b-42db-956c-38781f11d4ac" providerId="ADAL" clId="{8D9DEAC2-50CF-415E-A98E-9DD0620D154A}" dt="2022-05-24T15:54:55.413" v="655"/>
          <ac:spMkLst>
            <pc:docMk/>
            <pc:sldMk cId="2216987548" sldId="2142533339"/>
            <ac:spMk id="5" creationId="{BA330349-399B-45DB-B2B9-57F27702EFA9}"/>
          </ac:spMkLst>
        </pc:spChg>
        <pc:spChg chg="mod">
          <ac:chgData name="Saini, Manjot" userId="b2ea84a4-4c5b-42db-956c-38781f11d4ac" providerId="ADAL" clId="{8D9DEAC2-50CF-415E-A98E-9DD0620D154A}" dt="2022-05-24T15:53:41.233" v="620" actId="20577"/>
          <ac:spMkLst>
            <pc:docMk/>
            <pc:sldMk cId="2216987548" sldId="2142533339"/>
            <ac:spMk id="6" creationId="{F52B09EA-55D6-48CC-A8CC-D99C8C87CE59}"/>
          </ac:spMkLst>
        </pc:spChg>
      </pc:sldChg>
      <pc:sldChg chg="del">
        <pc:chgData name="Saini, Manjot" userId="b2ea84a4-4c5b-42db-956c-38781f11d4ac" providerId="ADAL" clId="{8D9DEAC2-50CF-415E-A98E-9DD0620D154A}" dt="2022-05-19T19:49:05.663" v="230" actId="47"/>
        <pc:sldMkLst>
          <pc:docMk/>
          <pc:sldMk cId="2496931437" sldId="2142533340"/>
        </pc:sldMkLst>
      </pc:sldChg>
      <pc:sldChg chg="addSp delSp modSp add del mod ord modNotesTx">
        <pc:chgData name="Saini, Manjot" userId="b2ea84a4-4c5b-42db-956c-38781f11d4ac" providerId="ADAL" clId="{8D9DEAC2-50CF-415E-A98E-9DD0620D154A}" dt="2022-05-25T15:10:27.382" v="2066" actId="1076"/>
        <pc:sldMkLst>
          <pc:docMk/>
          <pc:sldMk cId="2761477618" sldId="2142533359"/>
        </pc:sldMkLst>
        <pc:spChg chg="del">
          <ac:chgData name="Saini, Manjot" userId="b2ea84a4-4c5b-42db-956c-38781f11d4ac" providerId="ADAL" clId="{8D9DEAC2-50CF-415E-A98E-9DD0620D154A}" dt="2022-05-19T19:40:18.608" v="75" actId="478"/>
          <ac:spMkLst>
            <pc:docMk/>
            <pc:sldMk cId="2761477618" sldId="2142533359"/>
            <ac:spMk id="3" creationId="{A5099C65-ABAE-4BEA-A5FA-291DA07063CE}"/>
          </ac:spMkLst>
        </pc:spChg>
        <pc:graphicFrameChg chg="mod modGraphic">
          <ac:chgData name="Saini, Manjot" userId="b2ea84a4-4c5b-42db-956c-38781f11d4ac" providerId="ADAL" clId="{8D9DEAC2-50CF-415E-A98E-9DD0620D154A}" dt="2022-05-25T15:10:27.382" v="2066" actId="1076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  <pc:picChg chg="del">
          <ac:chgData name="Saini, Manjot" userId="b2ea84a4-4c5b-42db-956c-38781f11d4ac" providerId="ADAL" clId="{8D9DEAC2-50CF-415E-A98E-9DD0620D154A}" dt="2022-05-19T19:39:50.180" v="69" actId="478"/>
          <ac:picMkLst>
            <pc:docMk/>
            <pc:sldMk cId="2761477618" sldId="2142533359"/>
            <ac:picMk id="2" creationId="{9B44C3CE-840E-40EF-B6A8-31CBA582199C}"/>
          </ac:picMkLst>
        </pc:picChg>
        <pc:picChg chg="add mod">
          <ac:chgData name="Saini, Manjot" userId="b2ea84a4-4c5b-42db-956c-38781f11d4ac" providerId="ADAL" clId="{8D9DEAC2-50CF-415E-A98E-9DD0620D154A}" dt="2022-05-19T19:47:35.252" v="228" actId="1076"/>
          <ac:picMkLst>
            <pc:docMk/>
            <pc:sldMk cId="2761477618" sldId="2142533359"/>
            <ac:picMk id="6" creationId="{4582FD19-5E9A-4E07-B994-940607BDDFF8}"/>
          </ac:picMkLst>
        </pc:picChg>
      </pc:sldChg>
      <pc:sldChg chg="add">
        <pc:chgData name="Saini, Manjot" userId="b2ea84a4-4c5b-42db-956c-38781f11d4ac" providerId="ADAL" clId="{8D9DEAC2-50CF-415E-A98E-9DD0620D154A}" dt="2022-05-25T17:38:43.742" v="2067"/>
        <pc:sldMkLst>
          <pc:docMk/>
          <pc:sldMk cId="3194193419" sldId="2142533366"/>
        </pc:sldMkLst>
      </pc:sldChg>
      <pc:sldChg chg="modSp mod">
        <pc:chgData name="Saini, Manjot" userId="b2ea84a4-4c5b-42db-956c-38781f11d4ac" providerId="ADAL" clId="{8D9DEAC2-50CF-415E-A98E-9DD0620D154A}" dt="2022-05-19T19:38:40.724" v="65" actId="20577"/>
        <pc:sldMkLst>
          <pc:docMk/>
          <pc:sldMk cId="3219653398" sldId="2142533367"/>
        </pc:sldMkLst>
        <pc:spChg chg="mod">
          <ac:chgData name="Saini, Manjot" userId="b2ea84a4-4c5b-42db-956c-38781f11d4ac" providerId="ADAL" clId="{8D9DEAC2-50CF-415E-A98E-9DD0620D154A}" dt="2022-05-19T19:38:40.724" v="65" actId="20577"/>
          <ac:spMkLst>
            <pc:docMk/>
            <pc:sldMk cId="3219653398" sldId="2142533367"/>
            <ac:spMk id="95" creationId="{C7B1B1C6-2893-45F8-B905-E5F9B8DE0036}"/>
          </ac:spMkLst>
        </pc:spChg>
      </pc:sldChg>
      <pc:sldChg chg="modSp add mod">
        <pc:chgData name="Saini, Manjot" userId="b2ea84a4-4c5b-42db-956c-38781f11d4ac" providerId="ADAL" clId="{8D9DEAC2-50CF-415E-A98E-9DD0620D154A}" dt="2022-05-19T19:38:14.818" v="35" actId="20577"/>
        <pc:sldMkLst>
          <pc:docMk/>
          <pc:sldMk cId="2204456099" sldId="2142533368"/>
        </pc:sldMkLst>
        <pc:spChg chg="mod">
          <ac:chgData name="Saini, Manjot" userId="b2ea84a4-4c5b-42db-956c-38781f11d4ac" providerId="ADAL" clId="{8D9DEAC2-50CF-415E-A98E-9DD0620D154A}" dt="2022-05-19T19:38:14.818" v="35" actId="20577"/>
          <ac:spMkLst>
            <pc:docMk/>
            <pc:sldMk cId="2204456099" sldId="2142533368"/>
            <ac:spMk id="95" creationId="{C7B1B1C6-2893-45F8-B905-E5F9B8DE0036}"/>
          </ac:spMkLst>
        </pc:spChg>
      </pc:sldChg>
      <pc:sldChg chg="add">
        <pc:chgData name="Saini, Manjot" userId="b2ea84a4-4c5b-42db-956c-38781f11d4ac" providerId="ADAL" clId="{8D9DEAC2-50CF-415E-A98E-9DD0620D154A}" dt="2022-05-19T19:49:04.217" v="229"/>
        <pc:sldMkLst>
          <pc:docMk/>
          <pc:sldMk cId="2985691771" sldId="2142533369"/>
        </pc:sldMkLst>
      </pc:sldChg>
    </pc:docChg>
  </pc:docChgLst>
  <pc:docChgLst>
    <pc:chgData name="Trikha, Mrinal" userId="S::mrtrikha@deloitte.ca::ed915eee-6566-411c-abae-f14335474703" providerId="AD" clId="Web-{A4EE7465-80C1-87F2-9684-BAEFC82EC0EE}"/>
    <pc:docChg chg="">
      <pc:chgData name="Trikha, Mrinal" userId="S::mrtrikha@deloitte.ca::ed915eee-6566-411c-abae-f14335474703" providerId="AD" clId="Web-{A4EE7465-80C1-87F2-9684-BAEFC82EC0EE}" dt="2022-06-03T12:58:25.123" v="0"/>
      <pc:docMkLst>
        <pc:docMk/>
      </pc:docMkLst>
      <pc:sldChg chg="addCm">
        <pc:chgData name="Trikha, Mrinal" userId="S::mrtrikha@deloitte.ca::ed915eee-6566-411c-abae-f14335474703" providerId="AD" clId="Web-{A4EE7465-80C1-87F2-9684-BAEFC82EC0EE}" dt="2022-06-03T12:58:25.123" v="0"/>
        <pc:sldMkLst>
          <pc:docMk/>
          <pc:sldMk cId="2761477618" sldId="2142533359"/>
        </pc:sldMkLst>
      </pc:sldChg>
    </pc:docChg>
  </pc:docChgLst>
  <pc:docChgLst>
    <pc:chgData name="Vasan, Ragav" userId="S::rvasan@deloitte.ca::50fead7d-cb22-40c8-94a0-500bf7abcf25" providerId="AD" clId="Web-{FCB3445A-5C63-43BC-816C-54918BFEDFE8}"/>
    <pc:docChg chg="modSld">
      <pc:chgData name="Vasan, Ragav" userId="S::rvasan@deloitte.ca::50fead7d-cb22-40c8-94a0-500bf7abcf25" providerId="AD" clId="Web-{FCB3445A-5C63-43BC-816C-54918BFEDFE8}" dt="2022-05-25T15:43:34.260" v="3"/>
      <pc:docMkLst>
        <pc:docMk/>
      </pc:docMkLst>
      <pc:sldChg chg="modSp">
        <pc:chgData name="Vasan, Ragav" userId="S::rvasan@deloitte.ca::50fead7d-cb22-40c8-94a0-500bf7abcf25" providerId="AD" clId="Web-{FCB3445A-5C63-43BC-816C-54918BFEDFE8}" dt="2022-05-25T15:43:34.260" v="3"/>
        <pc:sldMkLst>
          <pc:docMk/>
          <pc:sldMk cId="4128731240" sldId="2142533264"/>
        </pc:sldMkLst>
        <pc:graphicFrameChg chg="mod modGraphic">
          <ac:chgData name="Vasan, Ragav" userId="S::rvasan@deloitte.ca::50fead7d-cb22-40c8-94a0-500bf7abcf25" providerId="AD" clId="Web-{FCB3445A-5C63-43BC-816C-54918BFEDFE8}" dt="2022-05-25T15:43:34.260" v="3"/>
          <ac:graphicFrameMkLst>
            <pc:docMk/>
            <pc:sldMk cId="4128731240" sldId="2142533264"/>
            <ac:graphicFrameMk id="7" creationId="{D1F57082-A926-4E28-8C45-64699F4F603E}"/>
          </ac:graphicFrameMkLst>
        </pc:graphicFrameChg>
      </pc:sldChg>
    </pc:docChg>
  </pc:docChgLst>
  <pc:docChgLst>
    <pc:chgData name="An, Andi" userId="7d8fd2d9-15e6-42a9-b3d3-ab6005dbdb91" providerId="ADAL" clId="{2EC7022C-95CE-4A3D-B3EB-5338CA4091B6}"/>
    <pc:docChg chg="custSel delSld modSld">
      <pc:chgData name="An, Andi" userId="7d8fd2d9-15e6-42a9-b3d3-ab6005dbdb91" providerId="ADAL" clId="{2EC7022C-95CE-4A3D-B3EB-5338CA4091B6}" dt="2022-05-26T15:17:11.109" v="588" actId="207"/>
      <pc:docMkLst>
        <pc:docMk/>
      </pc:docMkLst>
      <pc:sldChg chg="addSp delSp modSp mod modNotesTx">
        <pc:chgData name="An, Andi" userId="7d8fd2d9-15e6-42a9-b3d3-ab6005dbdb91" providerId="ADAL" clId="{2EC7022C-95CE-4A3D-B3EB-5338CA4091B6}" dt="2022-05-26T15:17:11.109" v="588" actId="207"/>
        <pc:sldMkLst>
          <pc:docMk/>
          <pc:sldMk cId="1709288386" sldId="2142533279"/>
        </pc:sldMkLst>
        <pc:spChg chg="add del mod">
          <ac:chgData name="An, Andi" userId="7d8fd2d9-15e6-42a9-b3d3-ab6005dbdb91" providerId="ADAL" clId="{2EC7022C-95CE-4A3D-B3EB-5338CA4091B6}" dt="2022-05-26T15:11:37.651" v="369" actId="478"/>
          <ac:spMkLst>
            <pc:docMk/>
            <pc:sldMk cId="1709288386" sldId="2142533279"/>
            <ac:spMk id="3" creationId="{EFC65E08-708C-4588-B7E9-0F2D536105C4}"/>
          </ac:spMkLst>
        </pc:spChg>
        <pc:spChg chg="add mod">
          <ac:chgData name="An, Andi" userId="7d8fd2d9-15e6-42a9-b3d3-ab6005dbdb91" providerId="ADAL" clId="{2EC7022C-95CE-4A3D-B3EB-5338CA4091B6}" dt="2022-05-26T15:17:11.109" v="588" actId="207"/>
          <ac:spMkLst>
            <pc:docMk/>
            <pc:sldMk cId="1709288386" sldId="2142533279"/>
            <ac:spMk id="4" creationId="{1FF86AAA-0F8E-4DA6-9395-80D7F1C685B4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8" creationId="{EB4FAD00-D48E-41D1-B67E-0D14CF8590DC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9" creationId="{DE3D4B13-E2FB-4E46-A058-7EF461AB39CF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0" creationId="{503755B3-70DE-48B4-907E-5673FDA0FC6F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1" creationId="{ABA2479E-0962-4AFC-AA43-24D7A2AC2EA1}"/>
          </ac:spMkLst>
        </pc:spChg>
        <pc:spChg chg="mod">
          <ac:chgData name="An, Andi" userId="7d8fd2d9-15e6-42a9-b3d3-ab6005dbdb91" providerId="ADAL" clId="{2EC7022C-95CE-4A3D-B3EB-5338CA4091B6}" dt="2022-05-25T18:05:38.301" v="325" actId="1076"/>
          <ac:spMkLst>
            <pc:docMk/>
            <pc:sldMk cId="1709288386" sldId="2142533279"/>
            <ac:spMk id="12" creationId="{98483090-EE62-4433-A1B7-9A780BDCF996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3" creationId="{C058B714-50DC-4A6F-9527-F32749F91833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4" creationId="{2312E578-7DAD-49F2-94C3-905EA4ECCCEA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5" creationId="{73C90C7B-EC06-4F60-8006-3BB4C14BACA4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6" creationId="{6E16B2E2-06BE-42F7-8D18-A5FD791564F9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7" creationId="{066E6329-5487-4103-AF13-9BF39309F302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8" creationId="{8287E331-5634-4447-886B-99FEE0E65078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9" creationId="{F946814F-C353-4322-9C49-AB831815590D}"/>
          </ac:spMkLst>
        </pc:spChg>
        <pc:spChg chg="add mod">
          <ac:chgData name="An, Andi" userId="7d8fd2d9-15e6-42a9-b3d3-ab6005dbdb91" providerId="ADAL" clId="{2EC7022C-95CE-4A3D-B3EB-5338CA4091B6}" dt="2022-05-26T15:17:03.973" v="586" actId="207"/>
          <ac:spMkLst>
            <pc:docMk/>
            <pc:sldMk cId="1709288386" sldId="2142533279"/>
            <ac:spMk id="21" creationId="{823501DB-3718-47F6-9336-C0D39DBB8BDE}"/>
          </ac:spMkLst>
        </pc:spChg>
        <pc:picChg chg="del">
          <ac:chgData name="An, Andi" userId="7d8fd2d9-15e6-42a9-b3d3-ab6005dbdb91" providerId="ADAL" clId="{2EC7022C-95CE-4A3D-B3EB-5338CA4091B6}" dt="2022-05-24T19:37:14.223" v="13" actId="478"/>
          <ac:picMkLst>
            <pc:docMk/>
            <pc:sldMk cId="1709288386" sldId="2142533279"/>
            <ac:picMk id="4" creationId="{26FB030C-C989-42F0-969C-01EAC9643A9D}"/>
          </ac:picMkLst>
        </pc:picChg>
        <pc:picChg chg="del">
          <ac:chgData name="An, Andi" userId="7d8fd2d9-15e6-42a9-b3d3-ab6005dbdb91" providerId="ADAL" clId="{2EC7022C-95CE-4A3D-B3EB-5338CA4091B6}" dt="2022-05-24T19:50:40.542" v="29" actId="478"/>
          <ac:picMkLst>
            <pc:docMk/>
            <pc:sldMk cId="1709288386" sldId="2142533279"/>
            <ac:picMk id="6" creationId="{80F97AC6-D36B-453B-A1E4-6129D5AF64EB}"/>
          </ac:picMkLst>
        </pc:picChg>
        <pc:picChg chg="add mod ord">
          <ac:chgData name="An, Andi" userId="7d8fd2d9-15e6-42a9-b3d3-ab6005dbdb91" providerId="ADAL" clId="{2EC7022C-95CE-4A3D-B3EB-5338CA4091B6}" dt="2022-05-24T19:37:11.395" v="12" actId="167"/>
          <ac:picMkLst>
            <pc:docMk/>
            <pc:sldMk cId="1709288386" sldId="2142533279"/>
            <ac:picMk id="7" creationId="{4C467AD1-EB08-43AF-A942-BD23F924483B}"/>
          </ac:picMkLst>
        </pc:picChg>
      </pc:sldChg>
      <pc:sldChg chg="addSp delSp modSp mod modNotesTx">
        <pc:chgData name="An, Andi" userId="7d8fd2d9-15e6-42a9-b3d3-ab6005dbdb91" providerId="ADAL" clId="{2EC7022C-95CE-4A3D-B3EB-5338CA4091B6}" dt="2022-05-24T19:58:51.479" v="42" actId="6549"/>
        <pc:sldMkLst>
          <pc:docMk/>
          <pc:sldMk cId="4193427812" sldId="2142533280"/>
        </pc:sldMkLst>
        <pc:picChg chg="add mod ord">
          <ac:chgData name="An, Andi" userId="7d8fd2d9-15e6-42a9-b3d3-ab6005dbdb91" providerId="ADAL" clId="{2EC7022C-95CE-4A3D-B3EB-5338CA4091B6}" dt="2022-05-24T19:51:22.061" v="38" actId="167"/>
          <ac:picMkLst>
            <pc:docMk/>
            <pc:sldMk cId="4193427812" sldId="2142533280"/>
            <ac:picMk id="6" creationId="{078D5BEF-E8A7-470F-8169-74BD09B24F80}"/>
          </ac:picMkLst>
        </pc:picChg>
        <pc:picChg chg="del">
          <ac:chgData name="An, Andi" userId="7d8fd2d9-15e6-42a9-b3d3-ab6005dbdb91" providerId="ADAL" clId="{2EC7022C-95CE-4A3D-B3EB-5338CA4091B6}" dt="2022-05-24T19:51:18.006" v="36" actId="478"/>
          <ac:picMkLst>
            <pc:docMk/>
            <pc:sldMk cId="4193427812" sldId="2142533280"/>
            <ac:picMk id="7" creationId="{8EE8B94B-9A97-4EF8-9FB4-9280C29DC554}"/>
          </ac:picMkLst>
        </pc:picChg>
      </pc:sldChg>
      <pc:sldChg chg="del">
        <pc:chgData name="An, Andi" userId="7d8fd2d9-15e6-42a9-b3d3-ab6005dbdb91" providerId="ADAL" clId="{2EC7022C-95CE-4A3D-B3EB-5338CA4091B6}" dt="2022-05-24T19:49:48.078" v="28" actId="47"/>
        <pc:sldMkLst>
          <pc:docMk/>
          <pc:sldMk cId="3619494874" sldId="2142533337"/>
        </pc:sldMkLst>
      </pc:sldChg>
      <pc:sldChg chg="modSp mod modNotesTx">
        <pc:chgData name="An, Andi" userId="7d8fd2d9-15e6-42a9-b3d3-ab6005dbdb91" providerId="ADAL" clId="{2EC7022C-95CE-4A3D-B3EB-5338CA4091B6}" dt="2022-05-25T17:27:25.198" v="321" actId="20577"/>
        <pc:sldMkLst>
          <pc:docMk/>
          <pc:sldMk cId="2761477618" sldId="2142533359"/>
        </pc:sldMkLst>
        <pc:graphicFrameChg chg="mod modGraphic">
          <ac:chgData name="An, Andi" userId="7d8fd2d9-15e6-42a9-b3d3-ab6005dbdb91" providerId="ADAL" clId="{2EC7022C-95CE-4A3D-B3EB-5338CA4091B6}" dt="2022-05-25T15:46:49.256" v="320" actId="20577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</pc:sldChg>
      <pc:sldChg chg="addSp delSp modSp mod">
        <pc:chgData name="An, Andi" userId="7d8fd2d9-15e6-42a9-b3d3-ab6005dbdb91" providerId="ADAL" clId="{2EC7022C-95CE-4A3D-B3EB-5338CA4091B6}" dt="2022-05-24T19:46:03.354" v="25" actId="478"/>
        <pc:sldMkLst>
          <pc:docMk/>
          <pc:sldMk cId="3219653398" sldId="2142533367"/>
        </pc:sldMkLst>
        <pc:spChg chg="mod">
          <ac:chgData name="An, Andi" userId="7d8fd2d9-15e6-42a9-b3d3-ab6005dbdb91" providerId="ADAL" clId="{2EC7022C-95CE-4A3D-B3EB-5338CA4091B6}" dt="2022-05-24T19:43:17.866" v="21" actId="207"/>
          <ac:spMkLst>
            <pc:docMk/>
            <pc:sldMk cId="3219653398" sldId="2142533367"/>
            <ac:spMk id="83" creationId="{410646F5-1D78-4257-9CE2-6429EAF67952}"/>
          </ac:spMkLst>
        </pc:spChg>
        <pc:picChg chg="add del mod modCrop">
          <ac:chgData name="An, Andi" userId="7d8fd2d9-15e6-42a9-b3d3-ab6005dbdb91" providerId="ADAL" clId="{2EC7022C-95CE-4A3D-B3EB-5338CA4091B6}" dt="2022-05-24T19:46:03.354" v="25" actId="478"/>
          <ac:picMkLst>
            <pc:docMk/>
            <pc:sldMk cId="3219653398" sldId="2142533367"/>
            <ac:picMk id="3" creationId="{3F46A6AC-79DD-4DB5-8CDF-280259A1DE03}"/>
          </ac:picMkLst>
        </pc:picChg>
      </pc:sldChg>
      <pc:sldChg chg="modNotesTx">
        <pc:chgData name="An, Andi" userId="7d8fd2d9-15e6-42a9-b3d3-ab6005dbdb91" providerId="ADAL" clId="{2EC7022C-95CE-4A3D-B3EB-5338CA4091B6}" dt="2022-05-24T19:58:16.223" v="39" actId="20577"/>
        <pc:sldMkLst>
          <pc:docMk/>
          <pc:sldMk cId="2204456099" sldId="2142533368"/>
        </pc:sldMkLst>
      </pc:sldChg>
      <pc:sldChg chg="modNotesTx">
        <pc:chgData name="An, Andi" userId="7d8fd2d9-15e6-42a9-b3d3-ab6005dbdb91" providerId="ADAL" clId="{2EC7022C-95CE-4A3D-B3EB-5338CA4091B6}" dt="2022-05-24T19:58:18.235" v="40" actId="20577"/>
        <pc:sldMkLst>
          <pc:docMk/>
          <pc:sldMk cId="2985691771" sldId="2142533369"/>
        </pc:sldMkLst>
      </pc:sldChg>
    </pc:docChg>
  </pc:docChgLst>
  <pc:docChgLst>
    <pc:chgData name="An, Andi" userId="7d8fd2d9-15e6-42a9-b3d3-ab6005dbdb91" providerId="ADAL" clId="{42374AAC-B523-45A1-AB4F-971890CCB9CA}"/>
    <pc:docChg chg="undo custSel addSld delSld modSld">
      <pc:chgData name="An, Andi" userId="7d8fd2d9-15e6-42a9-b3d3-ab6005dbdb91" providerId="ADAL" clId="{42374AAC-B523-45A1-AB4F-971890CCB9CA}" dt="2022-06-03T17:38:45.072" v="2643" actId="6549"/>
      <pc:docMkLst>
        <pc:docMk/>
      </pc:docMkLst>
      <pc:sldChg chg="modSp mod">
        <pc:chgData name="An, Andi" userId="7d8fd2d9-15e6-42a9-b3d3-ab6005dbdb91" providerId="ADAL" clId="{42374AAC-B523-45A1-AB4F-971890CCB9CA}" dt="2022-06-01T20:33:27.111" v="10" actId="20577"/>
        <pc:sldMkLst>
          <pc:docMk/>
          <pc:sldMk cId="3984577434" sldId="402"/>
        </pc:sldMkLst>
        <pc:spChg chg="mod">
          <ac:chgData name="An, Andi" userId="7d8fd2d9-15e6-42a9-b3d3-ab6005dbdb91" providerId="ADAL" clId="{42374AAC-B523-45A1-AB4F-971890CCB9CA}" dt="2022-06-01T20:33:27.111" v="10" actId="20577"/>
          <ac:spMkLst>
            <pc:docMk/>
            <pc:sldMk cId="3984577434" sldId="402"/>
            <ac:spMk id="6" creationId="{B17CD2C9-81C0-430E-9EFD-EDFA0861E223}"/>
          </ac:spMkLst>
        </pc:spChg>
      </pc:sldChg>
      <pc:sldChg chg="modSp add mod">
        <pc:chgData name="An, Andi" userId="7d8fd2d9-15e6-42a9-b3d3-ab6005dbdb91" providerId="ADAL" clId="{42374AAC-B523-45A1-AB4F-971890CCB9CA}" dt="2022-06-02T18:45:48.619" v="288" actId="20577"/>
        <pc:sldMkLst>
          <pc:docMk/>
          <pc:sldMk cId="3297000900" sldId="7962"/>
        </pc:sldMkLst>
        <pc:spChg chg="mod">
          <ac:chgData name="An, Andi" userId="7d8fd2d9-15e6-42a9-b3d3-ab6005dbdb91" providerId="ADAL" clId="{42374AAC-B523-45A1-AB4F-971890CCB9CA}" dt="2022-06-02T18:45:02.781" v="263" actId="1076"/>
          <ac:spMkLst>
            <pc:docMk/>
            <pc:sldMk cId="3297000900" sldId="7962"/>
            <ac:spMk id="96" creationId="{9132E76E-B215-472B-B65D-D92DE173C45E}"/>
          </ac:spMkLst>
        </pc:spChg>
        <pc:spChg chg="mod">
          <ac:chgData name="An, Andi" userId="7d8fd2d9-15e6-42a9-b3d3-ab6005dbdb91" providerId="ADAL" clId="{42374AAC-B523-45A1-AB4F-971890CCB9CA}" dt="2022-06-02T18:45:08.975" v="264" actId="20577"/>
          <ac:spMkLst>
            <pc:docMk/>
            <pc:sldMk cId="3297000900" sldId="7962"/>
            <ac:spMk id="98" creationId="{8D97C434-213F-4780-8F7F-97350AA321D0}"/>
          </ac:spMkLst>
        </pc:spChg>
        <pc:graphicFrameChg chg="modGraphic">
          <ac:chgData name="An, Andi" userId="7d8fd2d9-15e6-42a9-b3d3-ab6005dbdb91" providerId="ADAL" clId="{42374AAC-B523-45A1-AB4F-971890CCB9CA}" dt="2022-06-02T18:45:48.619" v="288" actId="20577"/>
          <ac:graphicFrameMkLst>
            <pc:docMk/>
            <pc:sldMk cId="3297000900" sldId="7962"/>
            <ac:graphicFrameMk id="97" creationId="{43A14A9F-5065-4D8F-98A1-FA83911B451E}"/>
          </ac:graphicFrameMkLst>
        </pc:graphicFrameChg>
      </pc:sldChg>
      <pc:sldChg chg="del">
        <pc:chgData name="An, Andi" userId="7d8fd2d9-15e6-42a9-b3d3-ab6005dbdb91" providerId="ADAL" clId="{42374AAC-B523-45A1-AB4F-971890CCB9CA}" dt="2022-06-02T19:57:49.203" v="1884" actId="47"/>
        <pc:sldMkLst>
          <pc:docMk/>
          <pc:sldMk cId="3250818189" sldId="8012"/>
        </pc:sldMkLst>
      </pc:sldChg>
      <pc:sldChg chg="del">
        <pc:chgData name="An, Andi" userId="7d8fd2d9-15e6-42a9-b3d3-ab6005dbdb91" providerId="ADAL" clId="{42374AAC-B523-45A1-AB4F-971890CCB9CA}" dt="2022-06-01T20:33:36.880" v="12" actId="47"/>
        <pc:sldMkLst>
          <pc:docMk/>
          <pc:sldMk cId="4128731240" sldId="2142533264"/>
        </pc:sldMkLst>
      </pc:sldChg>
      <pc:sldChg chg="modSp mod delCm modNotesTx">
        <pc:chgData name="An, Andi" userId="7d8fd2d9-15e6-42a9-b3d3-ab6005dbdb91" providerId="ADAL" clId="{42374AAC-B523-45A1-AB4F-971890CCB9CA}" dt="2022-06-03T17:08:12.130" v="2078" actId="1592"/>
        <pc:sldMkLst>
          <pc:docMk/>
          <pc:sldMk cId="735498514" sldId="2142533272"/>
        </pc:sldMkLst>
        <pc:spChg chg="mod">
          <ac:chgData name="An, Andi" userId="7d8fd2d9-15e6-42a9-b3d3-ab6005dbdb91" providerId="ADAL" clId="{42374AAC-B523-45A1-AB4F-971890CCB9CA}" dt="2022-06-03T17:08:10.793" v="2077" actId="20577"/>
          <ac:spMkLst>
            <pc:docMk/>
            <pc:sldMk cId="735498514" sldId="2142533272"/>
            <ac:spMk id="39" creationId="{2E21F611-8CC0-4287-9741-9624C00534D3}"/>
          </ac:spMkLst>
        </pc:spChg>
      </pc:sldChg>
      <pc:sldChg chg="addSp delSp modSp mod">
        <pc:chgData name="An, Andi" userId="7d8fd2d9-15e6-42a9-b3d3-ab6005dbdb91" providerId="ADAL" clId="{42374AAC-B523-45A1-AB4F-971890CCB9CA}" dt="2022-06-03T17:15:39.453" v="2110" actId="166"/>
        <pc:sldMkLst>
          <pc:docMk/>
          <pc:sldMk cId="1709288386" sldId="2142533279"/>
        </pc:sldMkLst>
        <pc:spChg chg="mod">
          <ac:chgData name="An, Andi" userId="7d8fd2d9-15e6-42a9-b3d3-ab6005dbdb91" providerId="ADAL" clId="{42374AAC-B523-45A1-AB4F-971890CCB9CA}" dt="2022-06-01T20:37:47.227" v="143" actId="20577"/>
          <ac:spMkLst>
            <pc:docMk/>
            <pc:sldMk cId="1709288386" sldId="2142533279"/>
            <ac:spMk id="2" creationId="{37FB7C6E-1103-4082-BA6C-D15891AAD78E}"/>
          </ac:spMkLst>
        </pc:spChg>
        <pc:spChg chg="del">
          <ac:chgData name="An, Andi" userId="7d8fd2d9-15e6-42a9-b3d3-ab6005dbdb91" providerId="ADAL" clId="{42374AAC-B523-45A1-AB4F-971890CCB9CA}" dt="2022-06-01T20:37:19.413" v="133" actId="478"/>
          <ac:spMkLst>
            <pc:docMk/>
            <pc:sldMk cId="1709288386" sldId="2142533279"/>
            <ac:spMk id="4" creationId="{1FF86AAA-0F8E-4DA6-9395-80D7F1C685B4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8" creationId="{EB4FAD00-D48E-41D1-B67E-0D14CF8590DC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9" creationId="{DE3D4B13-E2FB-4E46-A058-7EF461AB39CF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0" creationId="{503755B3-70DE-48B4-907E-5673FDA0FC6F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1" creationId="{ABA2479E-0962-4AFC-AA43-24D7A2AC2EA1}"/>
          </ac:spMkLst>
        </pc:spChg>
        <pc:spChg chg="add del">
          <ac:chgData name="An, Andi" userId="7d8fd2d9-15e6-42a9-b3d3-ab6005dbdb91" providerId="ADAL" clId="{42374AAC-B523-45A1-AB4F-971890CCB9CA}" dt="2022-06-01T20:37:29.727" v="136" actId="478"/>
          <ac:spMkLst>
            <pc:docMk/>
            <pc:sldMk cId="1709288386" sldId="2142533279"/>
            <ac:spMk id="12" creationId="{98483090-EE62-4433-A1B7-9A780BDCF996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3" creationId="{C058B714-50DC-4A6F-9527-F32749F91833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4" creationId="{2312E578-7DAD-49F2-94C3-905EA4ECCCEA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5" creationId="{73C90C7B-EC06-4F60-8006-3BB4C14BACA4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6" creationId="{6E16B2E2-06BE-42F7-8D18-A5FD791564F9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7" creationId="{066E6329-5487-4103-AF13-9BF39309F302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8" creationId="{8287E331-5634-4447-886B-99FEE0E65078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9" creationId="{F946814F-C353-4322-9C49-AB831815590D}"/>
          </ac:spMkLst>
        </pc:spChg>
        <pc:spChg chg="del mod">
          <ac:chgData name="An, Andi" userId="7d8fd2d9-15e6-42a9-b3d3-ab6005dbdb91" providerId="ADAL" clId="{42374AAC-B523-45A1-AB4F-971890CCB9CA}" dt="2022-06-01T20:45:30.425" v="181" actId="478"/>
          <ac:spMkLst>
            <pc:docMk/>
            <pc:sldMk cId="1709288386" sldId="2142533279"/>
            <ac:spMk id="20" creationId="{8D557C82-3582-421A-9470-2972281E867F}"/>
          </ac:spMkLst>
        </pc:spChg>
        <pc:spChg chg="del">
          <ac:chgData name="An, Andi" userId="7d8fd2d9-15e6-42a9-b3d3-ab6005dbdb91" providerId="ADAL" clId="{42374AAC-B523-45A1-AB4F-971890CCB9CA}" dt="2022-06-01T20:37:14.120" v="130" actId="478"/>
          <ac:spMkLst>
            <pc:docMk/>
            <pc:sldMk cId="1709288386" sldId="2142533279"/>
            <ac:spMk id="21" creationId="{823501DB-3718-47F6-9336-C0D39DBB8BDE}"/>
          </ac:spMkLst>
        </pc:spChg>
        <pc:spChg chg="add del mod">
          <ac:chgData name="An, Andi" userId="7d8fd2d9-15e6-42a9-b3d3-ab6005dbdb91" providerId="ADAL" clId="{42374AAC-B523-45A1-AB4F-971890CCB9CA}" dt="2022-06-01T20:43:10.106" v="156" actId="478"/>
          <ac:spMkLst>
            <pc:docMk/>
            <pc:sldMk cId="1709288386" sldId="2142533279"/>
            <ac:spMk id="22" creationId="{36040A71-DAA1-456D-AF6D-01D85DCCB512}"/>
          </ac:spMkLst>
        </pc:spChg>
        <pc:picChg chg="add mod">
          <ac:chgData name="An, Andi" userId="7d8fd2d9-15e6-42a9-b3d3-ab6005dbdb91" providerId="ADAL" clId="{42374AAC-B523-45A1-AB4F-971890CCB9CA}" dt="2022-06-03T17:14:24.117" v="2090" actId="1076"/>
          <ac:picMkLst>
            <pc:docMk/>
            <pc:sldMk cId="1709288386" sldId="2142533279"/>
            <ac:picMk id="4" creationId="{CCAD315B-703A-4776-9D76-A74F3F78D191}"/>
          </ac:picMkLst>
        </pc:picChg>
        <pc:picChg chg="add mod ord">
          <ac:chgData name="An, Andi" userId="7d8fd2d9-15e6-42a9-b3d3-ab6005dbdb91" providerId="ADAL" clId="{42374AAC-B523-45A1-AB4F-971890CCB9CA}" dt="2022-06-03T17:15:39.453" v="2110" actId="166"/>
          <ac:picMkLst>
            <pc:docMk/>
            <pc:sldMk cId="1709288386" sldId="2142533279"/>
            <ac:picMk id="6" creationId="{E7A9FCE8-8160-450B-AEF7-4C5453070E9B}"/>
          </ac:picMkLst>
        </pc:picChg>
        <pc:picChg chg="del">
          <ac:chgData name="An, Andi" userId="7d8fd2d9-15e6-42a9-b3d3-ab6005dbdb91" providerId="ADAL" clId="{42374AAC-B523-45A1-AB4F-971890CCB9CA}" dt="2022-06-01T20:37:12.371" v="129" actId="478"/>
          <ac:picMkLst>
            <pc:docMk/>
            <pc:sldMk cId="1709288386" sldId="2142533279"/>
            <ac:picMk id="7" creationId="{4C467AD1-EB08-43AF-A942-BD23F924483B}"/>
          </ac:picMkLst>
        </pc:picChg>
        <pc:picChg chg="add mod">
          <ac:chgData name="An, Andi" userId="7d8fd2d9-15e6-42a9-b3d3-ab6005dbdb91" providerId="ADAL" clId="{42374AAC-B523-45A1-AB4F-971890CCB9CA}" dt="2022-06-03T17:14:57.710" v="2100" actId="1076"/>
          <ac:picMkLst>
            <pc:docMk/>
            <pc:sldMk cId="1709288386" sldId="2142533279"/>
            <ac:picMk id="7" creationId="{F88533C8-177E-4A5F-90BB-577AA900BC06}"/>
          </ac:picMkLst>
        </pc:picChg>
        <pc:picChg chg="add mod">
          <ac:chgData name="An, Andi" userId="7d8fd2d9-15e6-42a9-b3d3-ab6005dbdb91" providerId="ADAL" clId="{42374AAC-B523-45A1-AB4F-971890CCB9CA}" dt="2022-06-03T17:15:33.734" v="2109" actId="1076"/>
          <ac:picMkLst>
            <pc:docMk/>
            <pc:sldMk cId="1709288386" sldId="2142533279"/>
            <ac:picMk id="9" creationId="{FFA7B400-86F7-4E1B-A019-1E0529065697}"/>
          </ac:picMkLst>
        </pc:picChg>
        <pc:picChg chg="add mod">
          <ac:chgData name="An, Andi" userId="7d8fd2d9-15e6-42a9-b3d3-ab6005dbdb91" providerId="ADAL" clId="{42374AAC-B523-45A1-AB4F-971890CCB9CA}" dt="2022-06-01T20:45:16.022" v="175" actId="1076"/>
          <ac:picMkLst>
            <pc:docMk/>
            <pc:sldMk cId="1709288386" sldId="2142533279"/>
            <ac:picMk id="24" creationId="{51618638-C220-49D3-BF13-2AC1061E70AC}"/>
          </ac:picMkLst>
        </pc:picChg>
        <pc:picChg chg="add del mod">
          <ac:chgData name="An, Andi" userId="7d8fd2d9-15e6-42a9-b3d3-ab6005dbdb91" providerId="ADAL" clId="{42374AAC-B523-45A1-AB4F-971890CCB9CA}" dt="2022-06-03T17:15:32.150" v="2108" actId="478"/>
          <ac:picMkLst>
            <pc:docMk/>
            <pc:sldMk cId="1709288386" sldId="2142533279"/>
            <ac:picMk id="26" creationId="{FE193C28-5A1A-47A3-BC59-2A1CF1A8C897}"/>
          </ac:picMkLst>
        </pc:picChg>
        <pc:picChg chg="add del mod ord">
          <ac:chgData name="An, Andi" userId="7d8fd2d9-15e6-42a9-b3d3-ab6005dbdb91" providerId="ADAL" clId="{42374AAC-B523-45A1-AB4F-971890CCB9CA}" dt="2022-06-03T17:14:56.334" v="2099" actId="478"/>
          <ac:picMkLst>
            <pc:docMk/>
            <pc:sldMk cId="1709288386" sldId="2142533279"/>
            <ac:picMk id="28" creationId="{3D282937-2BC5-42E2-8D20-E4391A678AE6}"/>
          </ac:picMkLst>
        </pc:picChg>
        <pc:picChg chg="add del mod ord">
          <ac:chgData name="An, Andi" userId="7d8fd2d9-15e6-42a9-b3d3-ab6005dbdb91" providerId="ADAL" clId="{42374AAC-B523-45A1-AB4F-971890CCB9CA}" dt="2022-06-03T17:14:22.174" v="2089" actId="478"/>
          <ac:picMkLst>
            <pc:docMk/>
            <pc:sldMk cId="1709288386" sldId="2142533279"/>
            <ac:picMk id="30" creationId="{FD23BC30-2719-4EF7-AB4E-C6B4E01FE4A9}"/>
          </ac:picMkLst>
        </pc:picChg>
        <pc:picChg chg="add mod">
          <ac:chgData name="An, Andi" userId="7d8fd2d9-15e6-42a9-b3d3-ab6005dbdb91" providerId="ADAL" clId="{42374AAC-B523-45A1-AB4F-971890CCB9CA}" dt="2022-06-01T20:43:07.878" v="155"/>
          <ac:picMkLst>
            <pc:docMk/>
            <pc:sldMk cId="1709288386" sldId="2142533279"/>
            <ac:picMk id="104450" creationId="{38B85C7D-8355-40C7-AE43-3855D399F92D}"/>
          </ac:picMkLst>
        </pc:picChg>
      </pc:sldChg>
      <pc:sldChg chg="delSp del mod">
        <pc:chgData name="An, Andi" userId="7d8fd2d9-15e6-42a9-b3d3-ab6005dbdb91" providerId="ADAL" clId="{42374AAC-B523-45A1-AB4F-971890CCB9CA}" dt="2022-06-01T20:37:26.376" v="135" actId="2696"/>
        <pc:sldMkLst>
          <pc:docMk/>
          <pc:sldMk cId="4193427812" sldId="2142533280"/>
        </pc:sldMkLst>
        <pc:picChg chg="del">
          <ac:chgData name="An, Andi" userId="7d8fd2d9-15e6-42a9-b3d3-ab6005dbdb91" providerId="ADAL" clId="{42374AAC-B523-45A1-AB4F-971890CCB9CA}" dt="2022-06-01T20:37:20.862" v="134" actId="478"/>
          <ac:picMkLst>
            <pc:docMk/>
            <pc:sldMk cId="4193427812" sldId="2142533280"/>
            <ac:picMk id="6" creationId="{078D5BEF-E8A7-470F-8169-74BD09B24F80}"/>
          </ac:picMkLst>
        </pc:picChg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3443861770" sldId="2142533301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1462250193" sldId="2142533306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51800881" sldId="2142533307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654138156" sldId="2142533310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3410407603" sldId="2142533322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2314476678" sldId="2142533338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2216987548" sldId="2142533339"/>
        </pc:sldMkLst>
      </pc:sldChg>
      <pc:sldChg chg="addSp delSp modSp mod delCm modCm modNotesTx">
        <pc:chgData name="An, Andi" userId="7d8fd2d9-15e6-42a9-b3d3-ab6005dbdb91" providerId="ADAL" clId="{42374AAC-B523-45A1-AB4F-971890CCB9CA}" dt="2022-06-03T17:38:45.072" v="2643" actId="6549"/>
        <pc:sldMkLst>
          <pc:docMk/>
          <pc:sldMk cId="2761477618" sldId="2142533359"/>
        </pc:sldMkLst>
        <pc:spChg chg="mod">
          <ac:chgData name="An, Andi" userId="7d8fd2d9-15e6-42a9-b3d3-ab6005dbdb91" providerId="ADAL" clId="{42374AAC-B523-45A1-AB4F-971890CCB9CA}" dt="2022-06-02T17:29:21.826" v="231" actId="20577"/>
          <ac:spMkLst>
            <pc:docMk/>
            <pc:sldMk cId="2761477618" sldId="2142533359"/>
            <ac:spMk id="95" creationId="{C7B1B1C6-2893-45F8-B905-E5F9B8DE0036}"/>
          </ac:spMkLst>
        </pc:spChg>
        <pc:graphicFrameChg chg="mod modGraphic">
          <ac:chgData name="An, Andi" userId="7d8fd2d9-15e6-42a9-b3d3-ab6005dbdb91" providerId="ADAL" clId="{42374AAC-B523-45A1-AB4F-971890CCB9CA}" dt="2022-06-03T17:38:45.072" v="2643" actId="6549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  <pc:picChg chg="add del mod">
          <ac:chgData name="An, Andi" userId="7d8fd2d9-15e6-42a9-b3d3-ab6005dbdb91" providerId="ADAL" clId="{42374AAC-B523-45A1-AB4F-971890CCB9CA}" dt="2022-06-02T19:04:04.523" v="1407" actId="478"/>
          <ac:picMkLst>
            <pc:docMk/>
            <pc:sldMk cId="2761477618" sldId="2142533359"/>
            <ac:picMk id="2" creationId="{FBAA0E54-0FB6-4739-B7AE-8F7B98D97B90}"/>
          </ac:picMkLst>
        </pc:picChg>
        <pc:picChg chg="add mod">
          <ac:chgData name="An, Andi" userId="7d8fd2d9-15e6-42a9-b3d3-ab6005dbdb91" providerId="ADAL" clId="{42374AAC-B523-45A1-AB4F-971890CCB9CA}" dt="2022-06-02T19:04:14.694" v="1409" actId="1076"/>
          <ac:picMkLst>
            <pc:docMk/>
            <pc:sldMk cId="2761477618" sldId="2142533359"/>
            <ac:picMk id="3" creationId="{52174F00-422B-4AE3-A17F-922FC9857A77}"/>
          </ac:picMkLst>
        </pc:picChg>
        <pc:picChg chg="del">
          <ac:chgData name="An, Andi" userId="7d8fd2d9-15e6-42a9-b3d3-ab6005dbdb91" providerId="ADAL" clId="{42374AAC-B523-45A1-AB4F-971890CCB9CA}" dt="2022-06-02T17:28:47.097" v="216" actId="478"/>
          <ac:picMkLst>
            <pc:docMk/>
            <pc:sldMk cId="2761477618" sldId="2142533359"/>
            <ac:picMk id="6" creationId="{4582FD19-5E9A-4E07-B994-940607BDDFF8}"/>
          </ac:picMkLst>
        </pc:picChg>
      </pc:sldChg>
      <pc:sldChg chg="add del">
        <pc:chgData name="An, Andi" userId="7d8fd2d9-15e6-42a9-b3d3-ab6005dbdb91" providerId="ADAL" clId="{42374AAC-B523-45A1-AB4F-971890CCB9CA}" dt="2022-06-02T19:05:54.392" v="1508" actId="47"/>
        <pc:sldMkLst>
          <pc:docMk/>
          <pc:sldMk cId="3194193419" sldId="2142533366"/>
        </pc:sldMkLst>
      </pc:sldChg>
      <pc:sldChg chg="modSp mod modNotesTx">
        <pc:chgData name="An, Andi" userId="7d8fd2d9-15e6-42a9-b3d3-ab6005dbdb91" providerId="ADAL" clId="{42374AAC-B523-45A1-AB4F-971890CCB9CA}" dt="2022-06-03T14:06:15.290" v="1914" actId="20577"/>
        <pc:sldMkLst>
          <pc:docMk/>
          <pc:sldMk cId="3219653398" sldId="2142533367"/>
        </pc:sldMkLst>
        <pc:spChg chg="mod">
          <ac:chgData name="An, Andi" userId="7d8fd2d9-15e6-42a9-b3d3-ab6005dbdb91" providerId="ADAL" clId="{42374AAC-B523-45A1-AB4F-971890CCB9CA}" dt="2022-06-02T18:47:08.742" v="290" actId="207"/>
          <ac:spMkLst>
            <pc:docMk/>
            <pc:sldMk cId="3219653398" sldId="2142533367"/>
            <ac:spMk id="61" creationId="{1B2FC7DD-CE76-454D-986F-D75EE1C15DCB}"/>
          </ac:spMkLst>
        </pc:spChg>
        <pc:spChg chg="mod">
          <ac:chgData name="An, Andi" userId="7d8fd2d9-15e6-42a9-b3d3-ab6005dbdb91" providerId="ADAL" clId="{42374AAC-B523-45A1-AB4F-971890CCB9CA}" dt="2022-06-02T18:49:35.326" v="292" actId="20577"/>
          <ac:spMkLst>
            <pc:docMk/>
            <pc:sldMk cId="3219653398" sldId="2142533367"/>
            <ac:spMk id="85" creationId="{3360C108-CE8B-499A-97FA-3290441ED30F}"/>
          </ac:spMkLst>
        </pc:spChg>
        <pc:spChg chg="mod">
          <ac:chgData name="An, Andi" userId="7d8fd2d9-15e6-42a9-b3d3-ab6005dbdb91" providerId="ADAL" clId="{42374AAC-B523-45A1-AB4F-971890CCB9CA}" dt="2022-06-02T14:33:10.172" v="210" actId="108"/>
          <ac:spMkLst>
            <pc:docMk/>
            <pc:sldMk cId="3219653398" sldId="2142533367"/>
            <ac:spMk id="86" creationId="{35FD5896-DFCD-4A49-BE4F-7FBE8667052E}"/>
          </ac:spMkLst>
        </pc:spChg>
        <pc:spChg chg="mod">
          <ac:chgData name="An, Andi" userId="7d8fd2d9-15e6-42a9-b3d3-ab6005dbdb91" providerId="ADAL" clId="{42374AAC-B523-45A1-AB4F-971890CCB9CA}" dt="2022-06-03T14:05:45.689" v="1897" actId="20577"/>
          <ac:spMkLst>
            <pc:docMk/>
            <pc:sldMk cId="3219653398" sldId="2142533367"/>
            <ac:spMk id="90" creationId="{D11FADE8-2414-457C-87A5-264D97C007FF}"/>
          </ac:spMkLst>
        </pc:spChg>
        <pc:spChg chg="mod">
          <ac:chgData name="An, Andi" userId="7d8fd2d9-15e6-42a9-b3d3-ab6005dbdb91" providerId="ADAL" clId="{42374AAC-B523-45A1-AB4F-971890CCB9CA}" dt="2022-06-02T19:43:32.779" v="1585" actId="20577"/>
          <ac:spMkLst>
            <pc:docMk/>
            <pc:sldMk cId="3219653398" sldId="2142533367"/>
            <ac:spMk id="95" creationId="{C7B1B1C6-2893-45F8-B905-E5F9B8DE0036}"/>
          </ac:spMkLst>
        </pc:spChg>
        <pc:spChg chg="mod">
          <ac:chgData name="An, Andi" userId="7d8fd2d9-15e6-42a9-b3d3-ab6005dbdb91" providerId="ADAL" clId="{42374AAC-B523-45A1-AB4F-971890CCB9CA}" dt="2022-06-03T14:06:15.290" v="1914" actId="20577"/>
          <ac:spMkLst>
            <pc:docMk/>
            <pc:sldMk cId="3219653398" sldId="2142533367"/>
            <ac:spMk id="97" creationId="{04EFA14B-658F-438B-977E-BCF9A5389546}"/>
          </ac:spMkLst>
        </pc:spChg>
        <pc:spChg chg="mod">
          <ac:chgData name="An, Andi" userId="7d8fd2d9-15e6-42a9-b3d3-ab6005dbdb91" providerId="ADAL" clId="{42374AAC-B523-45A1-AB4F-971890CCB9CA}" dt="2022-06-03T14:05:37.592" v="1894"/>
          <ac:spMkLst>
            <pc:docMk/>
            <pc:sldMk cId="3219653398" sldId="2142533367"/>
            <ac:spMk id="98" creationId="{F8EF1283-8406-41B4-998D-6E47D292C7C1}"/>
          </ac:spMkLst>
        </pc:spChg>
      </pc:sldChg>
      <pc:sldChg chg="del">
        <pc:chgData name="An, Andi" userId="7d8fd2d9-15e6-42a9-b3d3-ab6005dbdb91" providerId="ADAL" clId="{42374AAC-B523-45A1-AB4F-971890CCB9CA}" dt="2022-06-01T20:36:43.279" v="128" actId="47"/>
        <pc:sldMkLst>
          <pc:docMk/>
          <pc:sldMk cId="2204456099" sldId="2142533368"/>
        </pc:sldMkLst>
      </pc:sldChg>
      <pc:sldChg chg="del">
        <pc:chgData name="An, Andi" userId="7d8fd2d9-15e6-42a9-b3d3-ab6005dbdb91" providerId="ADAL" clId="{42374AAC-B523-45A1-AB4F-971890CCB9CA}" dt="2022-06-01T20:36:43.279" v="128" actId="47"/>
        <pc:sldMkLst>
          <pc:docMk/>
          <pc:sldMk cId="2985691771" sldId="2142533369"/>
        </pc:sldMkLst>
      </pc:sldChg>
    </pc:docChg>
  </pc:docChgLst>
  <pc:docChgLst>
    <pc:chgData name="An, Andi" userId="7d8fd2d9-15e6-42a9-b3d3-ab6005dbdb91" providerId="ADAL" clId="{CD2D2083-E2C2-4CB6-9D70-C3E9DE945B76}"/>
    <pc:docChg chg="undo custSel delSld modSld">
      <pc:chgData name="An, Andi" userId="7d8fd2d9-15e6-42a9-b3d3-ab6005dbdb91" providerId="ADAL" clId="{CD2D2083-E2C2-4CB6-9D70-C3E9DE945B76}" dt="2022-08-10T21:34:22.270" v="1735" actId="20577"/>
      <pc:docMkLst>
        <pc:docMk/>
      </pc:docMkLst>
      <pc:sldChg chg="addSp delSp modSp mod">
        <pc:chgData name="An, Andi" userId="7d8fd2d9-15e6-42a9-b3d3-ab6005dbdb91" providerId="ADAL" clId="{CD2D2083-E2C2-4CB6-9D70-C3E9DE945B76}" dt="2022-08-10T16:50:45.711" v="26" actId="20577"/>
        <pc:sldMkLst>
          <pc:docMk/>
          <pc:sldMk cId="3984577434" sldId="402"/>
        </pc:sldMkLst>
        <pc:spChg chg="mod">
          <ac:chgData name="An, Andi" userId="7d8fd2d9-15e6-42a9-b3d3-ab6005dbdb91" providerId="ADAL" clId="{CD2D2083-E2C2-4CB6-9D70-C3E9DE945B76}" dt="2022-08-10T16:50:40.298" v="16" actId="20577"/>
          <ac:spMkLst>
            <pc:docMk/>
            <pc:sldMk cId="3984577434" sldId="402"/>
            <ac:spMk id="5" creationId="{075BF7A9-326A-4B8D-9F4C-B882EF07B74E}"/>
          </ac:spMkLst>
        </pc:spChg>
        <pc:spChg chg="mod">
          <ac:chgData name="An, Andi" userId="7d8fd2d9-15e6-42a9-b3d3-ab6005dbdb91" providerId="ADAL" clId="{CD2D2083-E2C2-4CB6-9D70-C3E9DE945B76}" dt="2022-08-10T16:50:45.711" v="26" actId="20577"/>
          <ac:spMkLst>
            <pc:docMk/>
            <pc:sldMk cId="3984577434" sldId="402"/>
            <ac:spMk id="6" creationId="{B17CD2C9-81C0-430E-9EFD-EDFA0861E223}"/>
          </ac:spMkLst>
        </pc:spChg>
        <pc:picChg chg="add mod">
          <ac:chgData name="An, Andi" userId="7d8fd2d9-15e6-42a9-b3d3-ab6005dbdb91" providerId="ADAL" clId="{CD2D2083-E2C2-4CB6-9D70-C3E9DE945B76}" dt="2022-08-10T16:50:34.133" v="6" actId="1076"/>
          <ac:picMkLst>
            <pc:docMk/>
            <pc:sldMk cId="3984577434" sldId="402"/>
            <ac:picMk id="3" creationId="{57747605-FF1E-4412-8B48-7C1E5B0E46CD}"/>
          </ac:picMkLst>
        </pc:picChg>
        <pc:picChg chg="del mod">
          <ac:chgData name="An, Andi" userId="7d8fd2d9-15e6-42a9-b3d3-ab6005dbdb91" providerId="ADAL" clId="{CD2D2083-E2C2-4CB6-9D70-C3E9DE945B76}" dt="2022-08-10T16:50:31.380" v="5" actId="478"/>
          <ac:picMkLst>
            <pc:docMk/>
            <pc:sldMk cId="3984577434" sldId="402"/>
            <ac:picMk id="13" creationId="{D5668887-171A-4994-A0EB-6C3503A3C8E7}"/>
          </ac:picMkLst>
        </pc:picChg>
      </pc:sldChg>
      <pc:sldChg chg="addSp delSp modSp mod">
        <pc:chgData name="An, Andi" userId="7d8fd2d9-15e6-42a9-b3d3-ab6005dbdb91" providerId="ADAL" clId="{CD2D2083-E2C2-4CB6-9D70-C3E9DE945B76}" dt="2022-08-10T16:51:51.678" v="40" actId="1076"/>
        <pc:sldMkLst>
          <pc:docMk/>
          <pc:sldMk cId="1709288386" sldId="2142533279"/>
        </pc:sldMkLst>
        <pc:picChg chg="add mod">
          <ac:chgData name="An, Andi" userId="7d8fd2d9-15e6-42a9-b3d3-ab6005dbdb91" providerId="ADAL" clId="{CD2D2083-E2C2-4CB6-9D70-C3E9DE945B76}" dt="2022-08-10T16:51:51.678" v="40" actId="1076"/>
          <ac:picMkLst>
            <pc:docMk/>
            <pc:sldMk cId="1709288386" sldId="2142533279"/>
            <ac:picMk id="3" creationId="{BF61FE0C-3758-43DB-BC64-CFCDF33D5A6D}"/>
          </ac:picMkLst>
        </pc:picChg>
        <pc:picChg chg="del">
          <ac:chgData name="An, Andi" userId="7d8fd2d9-15e6-42a9-b3d3-ab6005dbdb91" providerId="ADAL" clId="{CD2D2083-E2C2-4CB6-9D70-C3E9DE945B76}" dt="2022-08-10T16:51:27.598" v="36" actId="478"/>
          <ac:picMkLst>
            <pc:docMk/>
            <pc:sldMk cId="1709288386" sldId="2142533279"/>
            <ac:picMk id="5" creationId="{0162147B-A471-4827-A2CF-A63035B40DA4}"/>
          </ac:picMkLst>
        </pc:picChg>
        <pc:picChg chg="del">
          <ac:chgData name="An, Andi" userId="7d8fd2d9-15e6-42a9-b3d3-ab6005dbdb91" providerId="ADAL" clId="{CD2D2083-E2C2-4CB6-9D70-C3E9DE945B76}" dt="2022-08-10T16:51:27.598" v="36" actId="478"/>
          <ac:picMkLst>
            <pc:docMk/>
            <pc:sldMk cId="1709288386" sldId="2142533279"/>
            <ac:picMk id="10" creationId="{616E7BFD-07A5-4CA6-9FEA-6A732A6D0B2C}"/>
          </ac:picMkLst>
        </pc:picChg>
      </pc:sldChg>
      <pc:sldChg chg="modSp del mod">
        <pc:chgData name="An, Andi" userId="7d8fd2d9-15e6-42a9-b3d3-ab6005dbdb91" providerId="ADAL" clId="{CD2D2083-E2C2-4CB6-9D70-C3E9DE945B76}" dt="2022-08-10T17:06:24.011" v="259" actId="47"/>
        <pc:sldMkLst>
          <pc:docMk/>
          <pc:sldMk cId="1829563736" sldId="2142533368"/>
        </pc:sldMkLst>
        <pc:spChg chg="mod">
          <ac:chgData name="An, Andi" userId="7d8fd2d9-15e6-42a9-b3d3-ab6005dbdb91" providerId="ADAL" clId="{CD2D2083-E2C2-4CB6-9D70-C3E9DE945B76}" dt="2022-08-10T17:06:21.295" v="258" actId="6549"/>
          <ac:spMkLst>
            <pc:docMk/>
            <pc:sldMk cId="1829563736" sldId="2142533368"/>
            <ac:spMk id="3" creationId="{580D0043-B07F-4B5F-8873-BBB217B8C26E}"/>
          </ac:spMkLst>
        </pc:spChg>
      </pc:sldChg>
      <pc:sldChg chg="modSp mod">
        <pc:chgData name="An, Andi" userId="7d8fd2d9-15e6-42a9-b3d3-ab6005dbdb91" providerId="ADAL" clId="{CD2D2083-E2C2-4CB6-9D70-C3E9DE945B76}" dt="2022-08-10T16:51:59.659" v="41" actId="20577"/>
        <pc:sldMkLst>
          <pc:docMk/>
          <pc:sldMk cId="3866761111" sldId="2142533369"/>
        </pc:sldMkLst>
        <pc:spChg chg="mod">
          <ac:chgData name="An, Andi" userId="7d8fd2d9-15e6-42a9-b3d3-ab6005dbdb91" providerId="ADAL" clId="{CD2D2083-E2C2-4CB6-9D70-C3E9DE945B76}" dt="2022-08-10T16:51:59.659" v="41" actId="20577"/>
          <ac:spMkLst>
            <pc:docMk/>
            <pc:sldMk cId="3866761111" sldId="2142533369"/>
            <ac:spMk id="7" creationId="{4ABC7DCD-C68A-43A4-9F49-D053BD030208}"/>
          </ac:spMkLst>
        </pc:spChg>
      </pc:sldChg>
      <pc:sldChg chg="addSp delSp modSp mod">
        <pc:chgData name="An, Andi" userId="7d8fd2d9-15e6-42a9-b3d3-ab6005dbdb91" providerId="ADAL" clId="{CD2D2083-E2C2-4CB6-9D70-C3E9DE945B76}" dt="2022-08-10T20:16:55.866" v="1355" actId="20577"/>
        <pc:sldMkLst>
          <pc:docMk/>
          <pc:sldMk cId="2864539259" sldId="2142533370"/>
        </pc:sldMkLst>
        <pc:spChg chg="mod">
          <ac:chgData name="An, Andi" userId="7d8fd2d9-15e6-42a9-b3d3-ab6005dbdb91" providerId="ADAL" clId="{CD2D2083-E2C2-4CB6-9D70-C3E9DE945B76}" dt="2022-08-10T20:16:55.866" v="1355" actId="20577"/>
          <ac:spMkLst>
            <pc:docMk/>
            <pc:sldMk cId="2864539259" sldId="2142533370"/>
            <ac:spMk id="12" creationId="{5C09CE4E-FF4C-4D88-92A4-859271B57755}"/>
          </ac:spMkLst>
        </pc:spChg>
        <pc:picChg chg="add mod">
          <ac:chgData name="An, Andi" userId="7d8fd2d9-15e6-42a9-b3d3-ab6005dbdb91" providerId="ADAL" clId="{CD2D2083-E2C2-4CB6-9D70-C3E9DE945B76}" dt="2022-08-10T16:51:16.469" v="35" actId="1076"/>
          <ac:picMkLst>
            <pc:docMk/>
            <pc:sldMk cId="2864539259" sldId="2142533370"/>
            <ac:picMk id="4" creationId="{9BC3EA41-4BEE-4998-8F59-7792240090D3}"/>
          </ac:picMkLst>
        </pc:picChg>
        <pc:picChg chg="add del">
          <ac:chgData name="An, Andi" userId="7d8fd2d9-15e6-42a9-b3d3-ab6005dbdb91" providerId="ADAL" clId="{CD2D2083-E2C2-4CB6-9D70-C3E9DE945B76}" dt="2022-08-10T16:51:10.027" v="29" actId="478"/>
          <ac:picMkLst>
            <pc:docMk/>
            <pc:sldMk cId="2864539259" sldId="2142533370"/>
            <ac:picMk id="5" creationId="{6B869A25-C1F3-4912-AE97-B2949372EE30}"/>
          </ac:picMkLst>
        </pc:picChg>
      </pc:sldChg>
      <pc:sldChg chg="modSp">
        <pc:chgData name="An, Andi" userId="7d8fd2d9-15e6-42a9-b3d3-ab6005dbdb91" providerId="ADAL" clId="{CD2D2083-E2C2-4CB6-9D70-C3E9DE945B76}" dt="2022-08-10T20:08:31.548" v="268" actId="20577"/>
        <pc:sldMkLst>
          <pc:docMk/>
          <pc:sldMk cId="46002554" sldId="2142533371"/>
        </pc:sldMkLst>
        <pc:graphicFrameChg chg="mod">
          <ac:chgData name="An, Andi" userId="7d8fd2d9-15e6-42a9-b3d3-ab6005dbdb91" providerId="ADAL" clId="{CD2D2083-E2C2-4CB6-9D70-C3E9DE945B76}" dt="2022-08-10T20:08:31.548" v="268" actId="20577"/>
          <ac:graphicFrameMkLst>
            <pc:docMk/>
            <pc:sldMk cId="46002554" sldId="2142533371"/>
            <ac:graphicFrameMk id="9" creationId="{5E3D830E-6E71-A235-5C51-C9549D7F97A3}"/>
          </ac:graphicFrameMkLst>
        </pc:graphicFrameChg>
      </pc:sldChg>
      <pc:sldChg chg="modSp">
        <pc:chgData name="An, Andi" userId="7d8fd2d9-15e6-42a9-b3d3-ab6005dbdb91" providerId="ADAL" clId="{CD2D2083-E2C2-4CB6-9D70-C3E9DE945B76}" dt="2022-08-10T21:34:22.270" v="1735" actId="20577"/>
        <pc:sldMkLst>
          <pc:docMk/>
          <pc:sldMk cId="3527512828" sldId="2142533373"/>
        </pc:sldMkLst>
        <pc:graphicFrameChg chg="mod">
          <ac:chgData name="An, Andi" userId="7d8fd2d9-15e6-42a9-b3d3-ab6005dbdb91" providerId="ADAL" clId="{CD2D2083-E2C2-4CB6-9D70-C3E9DE945B76}" dt="2022-08-10T21:34:22.270" v="1735" actId="20577"/>
          <ac:graphicFrameMkLst>
            <pc:docMk/>
            <pc:sldMk cId="3527512828" sldId="2142533373"/>
            <ac:graphicFrameMk id="9" creationId="{5E3D830E-6E71-A235-5C51-C9549D7F97A3}"/>
          </ac:graphicFrameMkLst>
        </pc:graphicFrameChg>
      </pc:sldChg>
    </pc:docChg>
  </pc:docChgLst>
  <pc:docChgLst>
    <pc:chgData name="Vasan, Ragav" userId="50fead7d-cb22-40c8-94a0-500bf7abcf25" providerId="ADAL" clId="{267D0576-92D6-453C-B37A-E40A313185CA}"/>
    <pc:docChg chg="undo custSel delSld modSld sldOrd delMainMaster">
      <pc:chgData name="Vasan, Ragav" userId="50fead7d-cb22-40c8-94a0-500bf7abcf25" providerId="ADAL" clId="{267D0576-92D6-453C-B37A-E40A313185CA}" dt="2022-05-25T15:38:45.845" v="268" actId="20577"/>
      <pc:docMkLst>
        <pc:docMk/>
      </pc:docMkLst>
      <pc:sldChg chg="del">
        <pc:chgData name="Vasan, Ragav" userId="50fead7d-cb22-40c8-94a0-500bf7abcf25" providerId="ADAL" clId="{267D0576-92D6-453C-B37A-E40A313185CA}" dt="2022-05-25T03:48:05.829" v="101" actId="47"/>
        <pc:sldMkLst>
          <pc:docMk/>
          <pc:sldMk cId="3250818189" sldId="8012"/>
        </pc:sldMkLst>
      </pc:sldChg>
      <pc:sldChg chg="modSp mod">
        <pc:chgData name="Vasan, Ragav" userId="50fead7d-cb22-40c8-94a0-500bf7abcf25" providerId="ADAL" clId="{267D0576-92D6-453C-B37A-E40A313185CA}" dt="2022-05-25T03:47:55.369" v="100" actId="6549"/>
        <pc:sldMkLst>
          <pc:docMk/>
          <pc:sldMk cId="735498514" sldId="2142533272"/>
        </pc:sldMkLst>
        <pc:spChg chg="mod">
          <ac:chgData name="Vasan, Ragav" userId="50fead7d-cb22-40c8-94a0-500bf7abcf25" providerId="ADAL" clId="{267D0576-92D6-453C-B37A-E40A313185CA}" dt="2022-05-25T03:47:55.369" v="100" actId="6549"/>
          <ac:spMkLst>
            <pc:docMk/>
            <pc:sldMk cId="735498514" sldId="2142533272"/>
            <ac:spMk id="39" creationId="{2E21F611-8CC0-4287-9741-9624C00534D3}"/>
          </ac:spMkLst>
        </pc:spChg>
      </pc:sldChg>
      <pc:sldChg chg="addSp modSp mod">
        <pc:chgData name="Vasan, Ragav" userId="50fead7d-cb22-40c8-94a0-500bf7abcf25" providerId="ADAL" clId="{267D0576-92D6-453C-B37A-E40A313185CA}" dt="2022-05-25T03:44:44.647" v="79" actId="14100"/>
        <pc:sldMkLst>
          <pc:docMk/>
          <pc:sldMk cId="1709288386" sldId="2142533279"/>
        </pc:sldMkLst>
        <pc:spChg chg="mod ord">
          <ac:chgData name="Vasan, Ragav" userId="50fead7d-cb22-40c8-94a0-500bf7abcf25" providerId="ADAL" clId="{267D0576-92D6-453C-B37A-E40A313185CA}" dt="2022-05-25T03:43:27.528" v="7" actId="14100"/>
          <ac:spMkLst>
            <pc:docMk/>
            <pc:sldMk cId="1709288386" sldId="2142533279"/>
            <ac:spMk id="12" creationId="{98483090-EE62-4433-A1B7-9A780BDCF996}"/>
          </ac:spMkLst>
        </pc:spChg>
        <pc:spChg chg="add mod">
          <ac:chgData name="Vasan, Ragav" userId="50fead7d-cb22-40c8-94a0-500bf7abcf25" providerId="ADAL" clId="{267D0576-92D6-453C-B37A-E40A313185CA}" dt="2022-05-25T03:44:44.647" v="79" actId="14100"/>
          <ac:spMkLst>
            <pc:docMk/>
            <pc:sldMk cId="1709288386" sldId="2142533279"/>
            <ac:spMk id="20" creationId="{8D557C82-3582-421A-9470-2972281E867F}"/>
          </ac:spMkLst>
        </pc:spChg>
        <pc:picChg chg="mod">
          <ac:chgData name="Vasan, Ragav" userId="50fead7d-cb22-40c8-94a0-500bf7abcf25" providerId="ADAL" clId="{267D0576-92D6-453C-B37A-E40A313185CA}" dt="2022-05-25T03:43:01.643" v="0" actId="208"/>
          <ac:picMkLst>
            <pc:docMk/>
            <pc:sldMk cId="1709288386" sldId="2142533279"/>
            <ac:picMk id="7" creationId="{4C467AD1-EB08-43AF-A942-BD23F924483B}"/>
          </ac:picMkLst>
        </pc:picChg>
      </pc:sldChg>
      <pc:sldChg chg="addSp modSp mod">
        <pc:chgData name="Vasan, Ragav" userId="50fead7d-cb22-40c8-94a0-500bf7abcf25" providerId="ADAL" clId="{267D0576-92D6-453C-B37A-E40A313185CA}" dt="2022-05-25T03:45:31.515" v="86" actId="1036"/>
        <pc:sldMkLst>
          <pc:docMk/>
          <pc:sldMk cId="4193427812" sldId="2142533280"/>
        </pc:sldMkLst>
        <pc:spChg chg="add mod">
          <ac:chgData name="Vasan, Ragav" userId="50fead7d-cb22-40c8-94a0-500bf7abcf25" providerId="ADAL" clId="{267D0576-92D6-453C-B37A-E40A313185CA}" dt="2022-05-25T03:45:31.515" v="86" actId="1036"/>
          <ac:spMkLst>
            <pc:docMk/>
            <pc:sldMk cId="4193427812" sldId="2142533280"/>
            <ac:spMk id="8" creationId="{B3283168-2B6F-4DFA-88C2-A802B9E0E822}"/>
          </ac:spMkLst>
        </pc:spChg>
        <pc:picChg chg="mod">
          <ac:chgData name="Vasan, Ragav" userId="50fead7d-cb22-40c8-94a0-500bf7abcf25" providerId="ADAL" clId="{267D0576-92D6-453C-B37A-E40A313185CA}" dt="2022-05-25T03:45:19.336" v="82" actId="208"/>
          <ac:picMkLst>
            <pc:docMk/>
            <pc:sldMk cId="4193427812" sldId="2142533280"/>
            <ac:picMk id="6" creationId="{078D5BEF-E8A7-470F-8169-74BD09B24F80}"/>
          </ac:picMkLst>
        </pc:picChg>
      </pc:sldChg>
      <pc:sldChg chg="modSp mod">
        <pc:chgData name="Vasan, Ragav" userId="50fead7d-cb22-40c8-94a0-500bf7abcf25" providerId="ADAL" clId="{267D0576-92D6-453C-B37A-E40A313185CA}" dt="2022-05-25T15:38:45.845" v="268" actId="20577"/>
        <pc:sldMkLst>
          <pc:docMk/>
          <pc:sldMk cId="2761477618" sldId="2142533359"/>
        </pc:sldMkLst>
        <pc:graphicFrameChg chg="modGraphic">
          <ac:chgData name="Vasan, Ragav" userId="50fead7d-cb22-40c8-94a0-500bf7abcf25" providerId="ADAL" clId="{267D0576-92D6-453C-B37A-E40A313185CA}" dt="2022-05-25T15:38:45.845" v="268" actId="20577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</pc:sldChg>
      <pc:sldChg chg="ord">
        <pc:chgData name="Vasan, Ragav" userId="50fead7d-cb22-40c8-94a0-500bf7abcf25" providerId="ADAL" clId="{267D0576-92D6-453C-B37A-E40A313185CA}" dt="2022-05-25T15:27:32.733" v="104"/>
        <pc:sldMkLst>
          <pc:docMk/>
          <pc:sldMk cId="3219653398" sldId="2142533367"/>
        </pc:sldMkLst>
      </pc:sldChg>
      <pc:sldMasterChg chg="del delSldLayout">
        <pc:chgData name="Vasan, Ragav" userId="50fead7d-cb22-40c8-94a0-500bf7abcf25" providerId="ADAL" clId="{267D0576-92D6-453C-B37A-E40A313185CA}" dt="2022-05-25T03:48:05.829" v="101" actId="47"/>
        <pc:sldMasterMkLst>
          <pc:docMk/>
          <pc:sldMasterMk cId="123646201" sldId="2147483713"/>
        </pc:sldMasterMkLst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307161823" sldId="2147483714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678526653" sldId="2147483715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759918254" sldId="2147483716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2559382372" sldId="2147483717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4119547857" sldId="2147483718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3584466950" sldId="2147483719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3074770124" sldId="2147483720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433855884" sldId="2147483721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42A90F-12FE-4FD8-B84F-1E2B6F7717E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513544-3ED2-446E-A9C6-F7B03193C508}">
      <dgm:prSet custT="1"/>
      <dgm:spPr>
        <a:solidFill>
          <a:schemeClr val="tx1"/>
        </a:solidFill>
      </dgm:spPr>
      <dgm:t>
        <a:bodyPr/>
        <a:lstStyle/>
        <a:p>
          <a:r>
            <a:rPr lang="en-US" sz="2000" b="0" i="0" dirty="0"/>
            <a:t>Objective</a:t>
          </a:r>
          <a:endParaRPr lang="en-US" sz="2000" dirty="0"/>
        </a:p>
      </dgm:t>
    </dgm:pt>
    <dgm:pt modelId="{5EAD168F-7A52-47A3-A7A7-26F0338C5A10}" type="parTrans" cxnId="{5CA42BAD-241F-4113-AFA5-3A55F2860415}">
      <dgm:prSet/>
      <dgm:spPr/>
      <dgm:t>
        <a:bodyPr/>
        <a:lstStyle/>
        <a:p>
          <a:endParaRPr lang="en-US"/>
        </a:p>
      </dgm:t>
    </dgm:pt>
    <dgm:pt modelId="{36BC28D8-64CC-4BC4-A11C-DC08C93AE893}" type="sibTrans" cxnId="{5CA42BAD-241F-4113-AFA5-3A55F2860415}">
      <dgm:prSet/>
      <dgm:spPr/>
      <dgm:t>
        <a:bodyPr/>
        <a:lstStyle/>
        <a:p>
          <a:endParaRPr lang="en-US"/>
        </a:p>
      </dgm:t>
    </dgm:pt>
    <dgm:pt modelId="{FCE0A277-F78C-423C-9B21-CBB1BD8B0448}">
      <dgm:prSet/>
      <dgm:spPr/>
      <dgm:t>
        <a:bodyPr/>
        <a:lstStyle/>
        <a:p>
          <a:r>
            <a:rPr lang="en-US" b="0" i="0" dirty="0"/>
            <a:t>The goal of this project is to build a streaming data pipeline to </a:t>
          </a:r>
          <a:r>
            <a:rPr lang="en-US" b="1" i="0" dirty="0"/>
            <a:t>report on live TTC bus/streetcar information</a:t>
          </a:r>
          <a:r>
            <a:rPr lang="en-US" b="0" i="0" dirty="0"/>
            <a:t>. The final output of this project is an interactive PowerBI dashboard, which provides an overview of the route 7 Bathurst Street. </a:t>
          </a:r>
          <a:endParaRPr lang="en-US" dirty="0"/>
        </a:p>
      </dgm:t>
    </dgm:pt>
    <dgm:pt modelId="{3A5F7B0B-A389-4E5D-BB00-C450F58169CA}" type="parTrans" cxnId="{8093FB78-024A-4413-B225-3A9AC75171EB}">
      <dgm:prSet/>
      <dgm:spPr/>
      <dgm:t>
        <a:bodyPr/>
        <a:lstStyle/>
        <a:p>
          <a:endParaRPr lang="en-US"/>
        </a:p>
      </dgm:t>
    </dgm:pt>
    <dgm:pt modelId="{92FFF989-1CDB-414D-B54C-F1491AD3650F}" type="sibTrans" cxnId="{8093FB78-024A-4413-B225-3A9AC75171EB}">
      <dgm:prSet/>
      <dgm:spPr/>
      <dgm:t>
        <a:bodyPr/>
        <a:lstStyle/>
        <a:p>
          <a:endParaRPr lang="en-US"/>
        </a:p>
      </dgm:t>
    </dgm:pt>
    <dgm:pt modelId="{400CFA67-6615-4ABE-AA2C-35A7F9B56148}">
      <dgm:prSet custT="1"/>
      <dgm:spPr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76200" tIns="76200" rIns="76200" bIns="76200" numCol="1" spcCol="1270" anchor="ctr" anchorCtr="0"/>
        <a:lstStyle/>
        <a:p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otivation</a:t>
          </a:r>
          <a:endParaRPr lang="en-US" sz="2600" kern="1200" dirty="0"/>
        </a:p>
      </dgm:t>
    </dgm:pt>
    <dgm:pt modelId="{3D8CB750-83D8-4AE4-87E7-4C976F4740BA}" type="parTrans" cxnId="{A9448D90-8B50-4150-97F9-17C37D2A81A4}">
      <dgm:prSet/>
      <dgm:spPr/>
      <dgm:t>
        <a:bodyPr/>
        <a:lstStyle/>
        <a:p>
          <a:endParaRPr lang="en-US"/>
        </a:p>
      </dgm:t>
    </dgm:pt>
    <dgm:pt modelId="{62A2593C-1002-42C4-99EA-6D7A3648F12F}" type="sibTrans" cxnId="{A9448D90-8B50-4150-97F9-17C37D2A81A4}">
      <dgm:prSet/>
      <dgm:spPr/>
      <dgm:t>
        <a:bodyPr/>
        <a:lstStyle/>
        <a:p>
          <a:endParaRPr lang="en-US"/>
        </a:p>
      </dgm:t>
    </dgm:pt>
    <dgm:pt modelId="{9529BC24-E31C-4C5E-8E23-DBC8111F3C7B}">
      <dgm:prSet/>
      <dgm:spPr/>
      <dgm:t>
        <a:bodyPr/>
        <a:lstStyle/>
        <a:p>
          <a:r>
            <a:rPr lang="en-US" b="0" i="0" dirty="0"/>
            <a:t>The motivation of the project was based on an interest in learning different aspect of streaming data pipeline.</a:t>
          </a:r>
          <a:endParaRPr lang="en-US" dirty="0"/>
        </a:p>
      </dgm:t>
    </dgm:pt>
    <dgm:pt modelId="{79AC9139-EC32-44F7-A99D-55BD4BF9DE2D}" type="parTrans" cxnId="{4C93A416-8288-44DC-B73E-0F684E5397D4}">
      <dgm:prSet/>
      <dgm:spPr/>
      <dgm:t>
        <a:bodyPr/>
        <a:lstStyle/>
        <a:p>
          <a:endParaRPr lang="en-US"/>
        </a:p>
      </dgm:t>
    </dgm:pt>
    <dgm:pt modelId="{F06FA527-0B72-4B57-834F-6A702EEF3615}" type="sibTrans" cxnId="{4C93A416-8288-44DC-B73E-0F684E5397D4}">
      <dgm:prSet/>
      <dgm:spPr/>
      <dgm:t>
        <a:bodyPr/>
        <a:lstStyle/>
        <a:p>
          <a:endParaRPr lang="en-US"/>
        </a:p>
      </dgm:t>
    </dgm:pt>
    <dgm:pt modelId="{ED089FBB-76E3-4E45-B4F3-7D53BC44CD94}">
      <dgm:prSet custT="1"/>
      <dgm:spPr>
        <a:solidFill>
          <a:schemeClr val="tx1"/>
        </a:solidFill>
      </dgm:spPr>
      <dgm:t>
        <a:bodyPr/>
        <a:lstStyle/>
        <a:p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roject</a:t>
          </a:r>
          <a:r>
            <a:rPr lang="en-US" sz="2600" b="0" i="0" kern="1200" dirty="0"/>
            <a:t> </a:t>
          </a: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onsideration</a:t>
          </a:r>
          <a:endParaRPr lang="en-US" sz="2600" kern="1200" dirty="0"/>
        </a:p>
      </dgm:t>
    </dgm:pt>
    <dgm:pt modelId="{3156F440-19CE-4A80-81F8-4E4A1081CD1F}" type="parTrans" cxnId="{03C83D43-B92F-481F-9CB4-326938A67591}">
      <dgm:prSet/>
      <dgm:spPr/>
      <dgm:t>
        <a:bodyPr/>
        <a:lstStyle/>
        <a:p>
          <a:endParaRPr lang="en-US"/>
        </a:p>
      </dgm:t>
    </dgm:pt>
    <dgm:pt modelId="{A87EBE46-8423-46D1-9C7A-746EBA036181}" type="sibTrans" cxnId="{03C83D43-B92F-481F-9CB4-326938A67591}">
      <dgm:prSet/>
      <dgm:spPr/>
      <dgm:t>
        <a:bodyPr/>
        <a:lstStyle/>
        <a:p>
          <a:endParaRPr lang="en-US"/>
        </a:p>
      </dgm:t>
    </dgm:pt>
    <dgm:pt modelId="{E64C1F1F-2F3C-46F0-8579-758AA01AADD2}">
      <dgm:prSet/>
      <dgm:spPr/>
      <dgm:t>
        <a:bodyPr/>
        <a:lstStyle/>
        <a:p>
          <a:r>
            <a:rPr lang="en-US" b="0" i="0" dirty="0"/>
            <a:t>This project also provides an excellent opportunity to develop skills and experience in a range of tools. As such, the project is more complex than required, utilizing </a:t>
          </a:r>
          <a:r>
            <a:rPr lang="en-US" b="0" i="0" dirty="0" err="1"/>
            <a:t>nifi</a:t>
          </a:r>
          <a:r>
            <a:rPr lang="en-US" b="0" i="0" dirty="0"/>
            <a:t>, </a:t>
          </a:r>
          <a:r>
            <a:rPr lang="en-US" b="0" i="0" dirty="0" err="1"/>
            <a:t>mysql</a:t>
          </a:r>
          <a:r>
            <a:rPr lang="en-US" b="0" i="0" dirty="0"/>
            <a:t>, </a:t>
          </a:r>
          <a:r>
            <a:rPr lang="en-US" b="0" i="0" dirty="0" err="1"/>
            <a:t>debezium</a:t>
          </a:r>
          <a:r>
            <a:rPr lang="en-US" b="0" i="0" dirty="0"/>
            <a:t>, docker, and a series of AWS technology (S3, </a:t>
          </a:r>
          <a:r>
            <a:rPr lang="en-US" b="0" i="0" dirty="0" err="1"/>
            <a:t>MSK,EMR,Athena</a:t>
          </a:r>
          <a:r>
            <a:rPr lang="en-US" b="0" i="0" dirty="0"/>
            <a:t>).</a:t>
          </a:r>
          <a:endParaRPr lang="en-US" dirty="0"/>
        </a:p>
      </dgm:t>
    </dgm:pt>
    <dgm:pt modelId="{3D898115-9530-4DA4-8D23-705ADA21A4F3}" type="parTrans" cxnId="{B08580E0-FBB3-4344-B6D0-CD74409EB1C6}">
      <dgm:prSet/>
      <dgm:spPr/>
      <dgm:t>
        <a:bodyPr/>
        <a:lstStyle/>
        <a:p>
          <a:endParaRPr lang="en-US"/>
        </a:p>
      </dgm:t>
    </dgm:pt>
    <dgm:pt modelId="{94D78153-3D1C-4225-BE31-E03ABD59126A}" type="sibTrans" cxnId="{B08580E0-FBB3-4344-B6D0-CD74409EB1C6}">
      <dgm:prSet/>
      <dgm:spPr/>
      <dgm:t>
        <a:bodyPr/>
        <a:lstStyle/>
        <a:p>
          <a:endParaRPr lang="en-US"/>
        </a:p>
      </dgm:t>
    </dgm:pt>
    <dgm:pt modelId="{F2450628-3F75-4470-9F89-FCE76FE29859}">
      <dgm:prSet/>
      <dgm:spPr/>
      <dgm:t>
        <a:bodyPr/>
        <a:lstStyle/>
        <a:p>
          <a:endParaRPr lang="en-US" dirty="0"/>
        </a:p>
      </dgm:t>
    </dgm:pt>
    <dgm:pt modelId="{BEA5E137-8D2B-44A0-9C51-5ED724BB4D43}" type="parTrans" cxnId="{AA109C72-C2E4-43CC-B8A2-47B44AB2E1EE}">
      <dgm:prSet/>
      <dgm:spPr/>
      <dgm:t>
        <a:bodyPr/>
        <a:lstStyle/>
        <a:p>
          <a:endParaRPr lang="en-US"/>
        </a:p>
      </dgm:t>
    </dgm:pt>
    <dgm:pt modelId="{A4B4829F-C00E-4F39-A892-08EAA7E3A4BC}" type="sibTrans" cxnId="{AA109C72-C2E4-43CC-B8A2-47B44AB2E1EE}">
      <dgm:prSet/>
      <dgm:spPr/>
      <dgm:t>
        <a:bodyPr/>
        <a:lstStyle/>
        <a:p>
          <a:endParaRPr lang="en-US"/>
        </a:p>
      </dgm:t>
    </dgm:pt>
    <dgm:pt modelId="{9401EFEB-1F05-421B-B3C5-3006DE653901}">
      <dgm:prSet/>
      <dgm:spPr/>
      <dgm:t>
        <a:bodyPr/>
        <a:lstStyle/>
        <a:p>
          <a:endParaRPr lang="en-US" dirty="0"/>
        </a:p>
      </dgm:t>
    </dgm:pt>
    <dgm:pt modelId="{09BAB99C-8208-4F9A-94D0-8E1DAE99667D}" type="parTrans" cxnId="{659CA8AC-9954-4969-8ED8-83DF95E960ED}">
      <dgm:prSet/>
      <dgm:spPr/>
      <dgm:t>
        <a:bodyPr/>
        <a:lstStyle/>
        <a:p>
          <a:endParaRPr lang="en-US"/>
        </a:p>
      </dgm:t>
    </dgm:pt>
    <dgm:pt modelId="{35569CB7-D17D-47E8-9986-FEC740FD243F}" type="sibTrans" cxnId="{659CA8AC-9954-4969-8ED8-83DF95E960ED}">
      <dgm:prSet/>
      <dgm:spPr/>
      <dgm:t>
        <a:bodyPr/>
        <a:lstStyle/>
        <a:p>
          <a:endParaRPr lang="en-US"/>
        </a:p>
      </dgm:t>
    </dgm:pt>
    <dgm:pt modelId="{F8C140D8-EBD3-4B6F-B113-3BB158CAD82B}" type="pres">
      <dgm:prSet presAssocID="{5042A90F-12FE-4FD8-B84F-1E2B6F7717E7}" presName="linear" presStyleCnt="0">
        <dgm:presLayoutVars>
          <dgm:animLvl val="lvl"/>
          <dgm:resizeHandles val="exact"/>
        </dgm:presLayoutVars>
      </dgm:prSet>
      <dgm:spPr/>
    </dgm:pt>
    <dgm:pt modelId="{E494E39F-C567-4959-874A-EA28B2B87C3D}" type="pres">
      <dgm:prSet presAssocID="{DD513544-3ED2-446E-A9C6-F7B03193C50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75A4D74-D229-45F7-AAC5-416AB14A9160}" type="pres">
      <dgm:prSet presAssocID="{DD513544-3ED2-446E-A9C6-F7B03193C508}" presName="childText" presStyleLbl="revTx" presStyleIdx="0" presStyleCnt="3">
        <dgm:presLayoutVars>
          <dgm:bulletEnabled val="1"/>
        </dgm:presLayoutVars>
      </dgm:prSet>
      <dgm:spPr/>
    </dgm:pt>
    <dgm:pt modelId="{43D32DB9-C4F4-4309-B162-0346BAA55A4E}" type="pres">
      <dgm:prSet presAssocID="{400CFA67-6615-4ABE-AA2C-35A7F9B56148}" presName="parentText" presStyleLbl="node1" presStyleIdx="1" presStyleCnt="3">
        <dgm:presLayoutVars>
          <dgm:chMax val="0"/>
          <dgm:bulletEnabled val="1"/>
        </dgm:presLayoutVars>
      </dgm:prSet>
      <dgm:spPr>
        <a:xfrm>
          <a:off x="0" y="2106336"/>
          <a:ext cx="11112500" cy="623610"/>
        </a:xfrm>
        <a:prstGeom prst="roundRect">
          <a:avLst/>
        </a:prstGeom>
      </dgm:spPr>
    </dgm:pt>
    <dgm:pt modelId="{26880214-0FAE-4D37-99A2-D80291E8A73E}" type="pres">
      <dgm:prSet presAssocID="{400CFA67-6615-4ABE-AA2C-35A7F9B56148}" presName="childText" presStyleLbl="revTx" presStyleIdx="1" presStyleCnt="3">
        <dgm:presLayoutVars>
          <dgm:bulletEnabled val="1"/>
        </dgm:presLayoutVars>
      </dgm:prSet>
      <dgm:spPr/>
    </dgm:pt>
    <dgm:pt modelId="{2428E035-5702-4BD8-8002-FC7BF5AF3C61}" type="pres">
      <dgm:prSet presAssocID="{ED089FBB-76E3-4E45-B4F3-7D53BC44CD9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5C74DD5F-94AF-45A4-B2F2-A9BFA482F32F}" type="pres">
      <dgm:prSet presAssocID="{ED089FBB-76E3-4E45-B4F3-7D53BC44CD94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4C93A416-8288-44DC-B73E-0F684E5397D4}" srcId="{400CFA67-6615-4ABE-AA2C-35A7F9B56148}" destId="{9529BC24-E31C-4C5E-8E23-DBC8111F3C7B}" srcOrd="0" destOrd="0" parTransId="{79AC9139-EC32-44F7-A99D-55BD4BF9DE2D}" sibTransId="{F06FA527-0B72-4B57-834F-6A702EEF3615}"/>
    <dgm:cxn modelId="{03C83D43-B92F-481F-9CB4-326938A67591}" srcId="{5042A90F-12FE-4FD8-B84F-1E2B6F7717E7}" destId="{ED089FBB-76E3-4E45-B4F3-7D53BC44CD94}" srcOrd="2" destOrd="0" parTransId="{3156F440-19CE-4A80-81F8-4E4A1081CD1F}" sibTransId="{A87EBE46-8423-46D1-9C7A-746EBA036181}"/>
    <dgm:cxn modelId="{C6E32C6B-C53D-45B8-BDB8-793B5110E0EC}" type="presOf" srcId="{FCE0A277-F78C-423C-9B21-CBB1BD8B0448}" destId="{B75A4D74-D229-45F7-AAC5-416AB14A9160}" srcOrd="0" destOrd="0" presId="urn:microsoft.com/office/officeart/2005/8/layout/vList2"/>
    <dgm:cxn modelId="{46FA2C70-A826-45DA-B016-1A22A71A9FB8}" type="presOf" srcId="{9529BC24-E31C-4C5E-8E23-DBC8111F3C7B}" destId="{26880214-0FAE-4D37-99A2-D80291E8A73E}" srcOrd="0" destOrd="0" presId="urn:microsoft.com/office/officeart/2005/8/layout/vList2"/>
    <dgm:cxn modelId="{AA109C72-C2E4-43CC-B8A2-47B44AB2E1EE}" srcId="{DD513544-3ED2-446E-A9C6-F7B03193C508}" destId="{F2450628-3F75-4470-9F89-FCE76FE29859}" srcOrd="1" destOrd="0" parTransId="{BEA5E137-8D2B-44A0-9C51-5ED724BB4D43}" sibTransId="{A4B4829F-C00E-4F39-A892-08EAA7E3A4BC}"/>
    <dgm:cxn modelId="{8093FB78-024A-4413-B225-3A9AC75171EB}" srcId="{DD513544-3ED2-446E-A9C6-F7B03193C508}" destId="{FCE0A277-F78C-423C-9B21-CBB1BD8B0448}" srcOrd="0" destOrd="0" parTransId="{3A5F7B0B-A389-4E5D-BB00-C450F58169CA}" sibTransId="{92FFF989-1CDB-414D-B54C-F1491AD3650F}"/>
    <dgm:cxn modelId="{91E2297D-6FF3-4CC7-A681-406E6F898390}" type="presOf" srcId="{F2450628-3F75-4470-9F89-FCE76FE29859}" destId="{B75A4D74-D229-45F7-AAC5-416AB14A9160}" srcOrd="0" destOrd="1" presId="urn:microsoft.com/office/officeart/2005/8/layout/vList2"/>
    <dgm:cxn modelId="{B0BCC08B-70EC-4C08-9D92-DE65119C22AE}" type="presOf" srcId="{400CFA67-6615-4ABE-AA2C-35A7F9B56148}" destId="{43D32DB9-C4F4-4309-B162-0346BAA55A4E}" srcOrd="0" destOrd="0" presId="urn:microsoft.com/office/officeart/2005/8/layout/vList2"/>
    <dgm:cxn modelId="{A9448D90-8B50-4150-97F9-17C37D2A81A4}" srcId="{5042A90F-12FE-4FD8-B84F-1E2B6F7717E7}" destId="{400CFA67-6615-4ABE-AA2C-35A7F9B56148}" srcOrd="1" destOrd="0" parTransId="{3D8CB750-83D8-4AE4-87E7-4C976F4740BA}" sibTransId="{62A2593C-1002-42C4-99EA-6D7A3648F12F}"/>
    <dgm:cxn modelId="{5E5AF5A3-3700-4844-98CA-BA2ECC10BA80}" type="presOf" srcId="{DD513544-3ED2-446E-A9C6-F7B03193C508}" destId="{E494E39F-C567-4959-874A-EA28B2B87C3D}" srcOrd="0" destOrd="0" presId="urn:microsoft.com/office/officeart/2005/8/layout/vList2"/>
    <dgm:cxn modelId="{2FC6F9AB-C7CB-4562-9163-A1971E6D49E5}" type="presOf" srcId="{5042A90F-12FE-4FD8-B84F-1E2B6F7717E7}" destId="{F8C140D8-EBD3-4B6F-B113-3BB158CAD82B}" srcOrd="0" destOrd="0" presId="urn:microsoft.com/office/officeart/2005/8/layout/vList2"/>
    <dgm:cxn modelId="{659CA8AC-9954-4969-8ED8-83DF95E960ED}" srcId="{400CFA67-6615-4ABE-AA2C-35A7F9B56148}" destId="{9401EFEB-1F05-421B-B3C5-3006DE653901}" srcOrd="1" destOrd="0" parTransId="{09BAB99C-8208-4F9A-94D0-8E1DAE99667D}" sibTransId="{35569CB7-D17D-47E8-9986-FEC740FD243F}"/>
    <dgm:cxn modelId="{5CA42BAD-241F-4113-AFA5-3A55F2860415}" srcId="{5042A90F-12FE-4FD8-B84F-1E2B6F7717E7}" destId="{DD513544-3ED2-446E-A9C6-F7B03193C508}" srcOrd="0" destOrd="0" parTransId="{5EAD168F-7A52-47A3-A7A7-26F0338C5A10}" sibTransId="{36BC28D8-64CC-4BC4-A11C-DC08C93AE893}"/>
    <dgm:cxn modelId="{5343D8BB-DB64-4292-9574-D0CCBB321C30}" type="presOf" srcId="{ED089FBB-76E3-4E45-B4F3-7D53BC44CD94}" destId="{2428E035-5702-4BD8-8002-FC7BF5AF3C61}" srcOrd="0" destOrd="0" presId="urn:microsoft.com/office/officeart/2005/8/layout/vList2"/>
    <dgm:cxn modelId="{E31760CA-EB5D-48A7-9E19-1DC2B425C7DD}" type="presOf" srcId="{E64C1F1F-2F3C-46F0-8579-758AA01AADD2}" destId="{5C74DD5F-94AF-45A4-B2F2-A9BFA482F32F}" srcOrd="0" destOrd="0" presId="urn:microsoft.com/office/officeart/2005/8/layout/vList2"/>
    <dgm:cxn modelId="{B08580E0-FBB3-4344-B6D0-CD74409EB1C6}" srcId="{ED089FBB-76E3-4E45-B4F3-7D53BC44CD94}" destId="{E64C1F1F-2F3C-46F0-8579-758AA01AADD2}" srcOrd="0" destOrd="0" parTransId="{3D898115-9530-4DA4-8D23-705ADA21A4F3}" sibTransId="{94D78153-3D1C-4225-BE31-E03ABD59126A}"/>
    <dgm:cxn modelId="{E6C296F5-D6A3-4F04-8BD9-36DCAF5227E5}" type="presOf" srcId="{9401EFEB-1F05-421B-B3C5-3006DE653901}" destId="{26880214-0FAE-4D37-99A2-D80291E8A73E}" srcOrd="0" destOrd="1" presId="urn:microsoft.com/office/officeart/2005/8/layout/vList2"/>
    <dgm:cxn modelId="{C4476494-010D-43B0-9B43-9A27B0474541}" type="presParOf" srcId="{F8C140D8-EBD3-4B6F-B113-3BB158CAD82B}" destId="{E494E39F-C567-4959-874A-EA28B2B87C3D}" srcOrd="0" destOrd="0" presId="urn:microsoft.com/office/officeart/2005/8/layout/vList2"/>
    <dgm:cxn modelId="{FB3850DD-A245-4619-8098-2907B85A68ED}" type="presParOf" srcId="{F8C140D8-EBD3-4B6F-B113-3BB158CAD82B}" destId="{B75A4D74-D229-45F7-AAC5-416AB14A9160}" srcOrd="1" destOrd="0" presId="urn:microsoft.com/office/officeart/2005/8/layout/vList2"/>
    <dgm:cxn modelId="{6F0891E2-0107-498B-9F4D-A023037D41FE}" type="presParOf" srcId="{F8C140D8-EBD3-4B6F-B113-3BB158CAD82B}" destId="{43D32DB9-C4F4-4309-B162-0346BAA55A4E}" srcOrd="2" destOrd="0" presId="urn:microsoft.com/office/officeart/2005/8/layout/vList2"/>
    <dgm:cxn modelId="{0B6DCF6D-1CEE-44D0-BC4C-56C9D9876F1F}" type="presParOf" srcId="{F8C140D8-EBD3-4B6F-B113-3BB158CAD82B}" destId="{26880214-0FAE-4D37-99A2-D80291E8A73E}" srcOrd="3" destOrd="0" presId="urn:microsoft.com/office/officeart/2005/8/layout/vList2"/>
    <dgm:cxn modelId="{2E113782-93F6-4558-B025-8260C7E28737}" type="presParOf" srcId="{F8C140D8-EBD3-4B6F-B113-3BB158CAD82B}" destId="{2428E035-5702-4BD8-8002-FC7BF5AF3C61}" srcOrd="4" destOrd="0" presId="urn:microsoft.com/office/officeart/2005/8/layout/vList2"/>
    <dgm:cxn modelId="{6AD9A0BF-AA63-418A-B623-E7BAFBBCD4AB}" type="presParOf" srcId="{F8C140D8-EBD3-4B6F-B113-3BB158CAD82B}" destId="{5C74DD5F-94AF-45A4-B2F2-A9BFA482F32F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42A90F-12FE-4FD8-B84F-1E2B6F7717E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513544-3ED2-446E-A9C6-F7B03193C508}">
      <dgm:prSet custT="1"/>
      <dgm:spPr>
        <a:solidFill>
          <a:schemeClr val="tx1"/>
        </a:solidFill>
      </dgm:spPr>
      <dgm:t>
        <a:bodyPr/>
        <a:lstStyle/>
        <a:p>
          <a:r>
            <a:rPr lang="en-US" sz="2000" dirty="0"/>
            <a:t>Productionalize the data pipeline</a:t>
          </a:r>
        </a:p>
      </dgm:t>
    </dgm:pt>
    <dgm:pt modelId="{5EAD168F-7A52-47A3-A7A7-26F0338C5A10}" type="parTrans" cxnId="{5CA42BAD-241F-4113-AFA5-3A55F2860415}">
      <dgm:prSet/>
      <dgm:spPr/>
      <dgm:t>
        <a:bodyPr/>
        <a:lstStyle/>
        <a:p>
          <a:endParaRPr lang="en-US"/>
        </a:p>
      </dgm:t>
    </dgm:pt>
    <dgm:pt modelId="{36BC28D8-64CC-4BC4-A11C-DC08C93AE893}" type="sibTrans" cxnId="{5CA42BAD-241F-4113-AFA5-3A55F2860415}">
      <dgm:prSet/>
      <dgm:spPr/>
      <dgm:t>
        <a:bodyPr/>
        <a:lstStyle/>
        <a:p>
          <a:endParaRPr lang="en-US"/>
        </a:p>
      </dgm:t>
    </dgm:pt>
    <dgm:pt modelId="{FCE0A277-F78C-423C-9B21-CBB1BD8B0448}">
      <dgm:prSet/>
      <dgm:spPr/>
      <dgm:t>
        <a:bodyPr/>
        <a:lstStyle/>
        <a:p>
          <a:r>
            <a:rPr lang="en-US" dirty="0"/>
            <a:t>Currently the NIFI and MYSQL both are both on an EC2 instance, we can use NIFI with EKS and MYSQL with RDS to allow for better scale.</a:t>
          </a:r>
        </a:p>
      </dgm:t>
    </dgm:pt>
    <dgm:pt modelId="{3A5F7B0B-A389-4E5D-BB00-C450F58169CA}" type="parTrans" cxnId="{8093FB78-024A-4413-B225-3A9AC75171EB}">
      <dgm:prSet/>
      <dgm:spPr/>
      <dgm:t>
        <a:bodyPr/>
        <a:lstStyle/>
        <a:p>
          <a:endParaRPr lang="en-US"/>
        </a:p>
      </dgm:t>
    </dgm:pt>
    <dgm:pt modelId="{92FFF989-1CDB-414D-B54C-F1491AD3650F}" type="sibTrans" cxnId="{8093FB78-024A-4413-B225-3A9AC75171EB}">
      <dgm:prSet/>
      <dgm:spPr/>
      <dgm:t>
        <a:bodyPr/>
        <a:lstStyle/>
        <a:p>
          <a:endParaRPr lang="en-US"/>
        </a:p>
      </dgm:t>
    </dgm:pt>
    <dgm:pt modelId="{400CFA67-6615-4ABE-AA2C-35A7F9B56148}">
      <dgm:prSet custT="1"/>
      <dgm:spPr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76200" tIns="76200" rIns="76200" bIns="76200" numCol="1" spcCol="1270" anchor="ctr" anchorCtr="0"/>
        <a:lstStyle/>
        <a:p>
          <a:r>
            <a:rPr lang="en-US" sz="2000" kern="1200" dirty="0"/>
            <a:t>Improve Dashboard Output</a:t>
          </a:r>
          <a:endParaRPr lang="en-US" sz="2600" kern="1200" dirty="0"/>
        </a:p>
      </dgm:t>
    </dgm:pt>
    <dgm:pt modelId="{3D8CB750-83D8-4AE4-87E7-4C976F4740BA}" type="parTrans" cxnId="{A9448D90-8B50-4150-97F9-17C37D2A81A4}">
      <dgm:prSet/>
      <dgm:spPr/>
      <dgm:t>
        <a:bodyPr/>
        <a:lstStyle/>
        <a:p>
          <a:endParaRPr lang="en-US"/>
        </a:p>
      </dgm:t>
    </dgm:pt>
    <dgm:pt modelId="{62A2593C-1002-42C4-99EA-6D7A3648F12F}" type="sibTrans" cxnId="{A9448D90-8B50-4150-97F9-17C37D2A81A4}">
      <dgm:prSet/>
      <dgm:spPr/>
      <dgm:t>
        <a:bodyPr/>
        <a:lstStyle/>
        <a:p>
          <a:endParaRPr lang="en-US"/>
        </a:p>
      </dgm:t>
    </dgm:pt>
    <dgm:pt modelId="{9529BC24-E31C-4C5E-8E23-DBC8111F3C7B}">
      <dgm:prSet/>
      <dgm:spPr/>
      <dgm:t>
        <a:bodyPr/>
        <a:lstStyle/>
        <a:p>
          <a:r>
            <a:rPr lang="en-US" dirty="0"/>
            <a:t>The PowerBI dashboard generated here is quite basic for demo purposes. One can greatly improve this dashboard.</a:t>
          </a:r>
        </a:p>
      </dgm:t>
    </dgm:pt>
    <dgm:pt modelId="{79AC9139-EC32-44F7-A99D-55BD4BF9DE2D}" type="parTrans" cxnId="{4C93A416-8288-44DC-B73E-0F684E5397D4}">
      <dgm:prSet/>
      <dgm:spPr/>
      <dgm:t>
        <a:bodyPr/>
        <a:lstStyle/>
        <a:p>
          <a:endParaRPr lang="en-US"/>
        </a:p>
      </dgm:t>
    </dgm:pt>
    <dgm:pt modelId="{F06FA527-0B72-4B57-834F-6A702EEF3615}" type="sibTrans" cxnId="{4C93A416-8288-44DC-B73E-0F684E5397D4}">
      <dgm:prSet/>
      <dgm:spPr/>
      <dgm:t>
        <a:bodyPr/>
        <a:lstStyle/>
        <a:p>
          <a:endParaRPr lang="en-US"/>
        </a:p>
      </dgm:t>
    </dgm:pt>
    <dgm:pt modelId="{ED089FBB-76E3-4E45-B4F3-7D53BC44CD94}">
      <dgm:prSet custT="1"/>
      <dgm:spPr>
        <a:solidFill>
          <a:schemeClr val="tx1"/>
        </a:solidFill>
      </dgm:spPr>
      <dgm:t>
        <a:bodyPr/>
        <a:lstStyle/>
        <a:p>
          <a:r>
            <a:rPr lang="en-US" sz="2000" kern="1200" dirty="0"/>
            <a:t>Testing</a:t>
          </a:r>
          <a:endParaRPr lang="en-US" sz="2600" kern="1200" dirty="0"/>
        </a:p>
      </dgm:t>
    </dgm:pt>
    <dgm:pt modelId="{3156F440-19CE-4A80-81F8-4E4A1081CD1F}" type="parTrans" cxnId="{03C83D43-B92F-481F-9CB4-326938A67591}">
      <dgm:prSet/>
      <dgm:spPr/>
      <dgm:t>
        <a:bodyPr/>
        <a:lstStyle/>
        <a:p>
          <a:endParaRPr lang="en-US"/>
        </a:p>
      </dgm:t>
    </dgm:pt>
    <dgm:pt modelId="{A87EBE46-8423-46D1-9C7A-746EBA036181}" type="sibTrans" cxnId="{03C83D43-B92F-481F-9CB4-326938A67591}">
      <dgm:prSet/>
      <dgm:spPr/>
      <dgm:t>
        <a:bodyPr/>
        <a:lstStyle/>
        <a:p>
          <a:endParaRPr lang="en-US"/>
        </a:p>
      </dgm:t>
    </dgm:pt>
    <dgm:pt modelId="{E64C1F1F-2F3C-46F0-8579-758AA01AADD2}">
      <dgm:prSet/>
      <dgm:spPr/>
      <dgm:t>
        <a:bodyPr/>
        <a:lstStyle/>
        <a:p>
          <a:r>
            <a:rPr lang="en-US" dirty="0"/>
            <a:t>The data pipeline currently does not use any framework to test and validate the data. One can implement a testing framework to improve data quality and pipeline transparency. </a:t>
          </a:r>
        </a:p>
      </dgm:t>
    </dgm:pt>
    <dgm:pt modelId="{3D898115-9530-4DA4-8D23-705ADA21A4F3}" type="parTrans" cxnId="{B08580E0-FBB3-4344-B6D0-CD74409EB1C6}">
      <dgm:prSet/>
      <dgm:spPr/>
      <dgm:t>
        <a:bodyPr/>
        <a:lstStyle/>
        <a:p>
          <a:endParaRPr lang="en-US"/>
        </a:p>
      </dgm:t>
    </dgm:pt>
    <dgm:pt modelId="{94D78153-3D1C-4225-BE31-E03ABD59126A}" type="sibTrans" cxnId="{B08580E0-FBB3-4344-B6D0-CD74409EB1C6}">
      <dgm:prSet/>
      <dgm:spPr/>
      <dgm:t>
        <a:bodyPr/>
        <a:lstStyle/>
        <a:p>
          <a:endParaRPr lang="en-US"/>
        </a:p>
      </dgm:t>
    </dgm:pt>
    <dgm:pt modelId="{9401EFEB-1F05-421B-B3C5-3006DE653901}">
      <dgm:prSet/>
      <dgm:spPr/>
      <dgm:t>
        <a:bodyPr/>
        <a:lstStyle/>
        <a:p>
          <a:endParaRPr lang="en-US" dirty="0"/>
        </a:p>
      </dgm:t>
    </dgm:pt>
    <dgm:pt modelId="{09BAB99C-8208-4F9A-94D0-8E1DAE99667D}" type="parTrans" cxnId="{659CA8AC-9954-4969-8ED8-83DF95E960ED}">
      <dgm:prSet/>
      <dgm:spPr/>
      <dgm:t>
        <a:bodyPr/>
        <a:lstStyle/>
        <a:p>
          <a:endParaRPr lang="en-US"/>
        </a:p>
      </dgm:t>
    </dgm:pt>
    <dgm:pt modelId="{35569CB7-D17D-47E8-9986-FEC740FD243F}" type="sibTrans" cxnId="{659CA8AC-9954-4969-8ED8-83DF95E960ED}">
      <dgm:prSet/>
      <dgm:spPr/>
      <dgm:t>
        <a:bodyPr/>
        <a:lstStyle/>
        <a:p>
          <a:endParaRPr lang="en-US"/>
        </a:p>
      </dgm:t>
    </dgm:pt>
    <dgm:pt modelId="{9475C381-A3A3-40C3-8549-4D8E2790C468}">
      <dgm:prSet/>
      <dgm:spPr/>
      <dgm:t>
        <a:bodyPr/>
        <a:lstStyle/>
        <a:p>
          <a:r>
            <a:rPr lang="en-US" dirty="0"/>
            <a:t>PowerBI have other interactive custom visuals that can improve the usefulness of the dashboard</a:t>
          </a:r>
        </a:p>
      </dgm:t>
    </dgm:pt>
    <dgm:pt modelId="{0CA8493F-C82A-4852-8AC2-8DD05072429F}" type="parTrans" cxnId="{80DF46FD-65F6-4C62-8638-DF1E5B33C328}">
      <dgm:prSet/>
      <dgm:spPr/>
      <dgm:t>
        <a:bodyPr/>
        <a:lstStyle/>
        <a:p>
          <a:endParaRPr lang="en-US"/>
        </a:p>
      </dgm:t>
    </dgm:pt>
    <dgm:pt modelId="{722337E8-3D4B-4C6F-A962-CB07A6B99D1C}" type="sibTrans" cxnId="{80DF46FD-65F6-4C62-8638-DF1E5B33C328}">
      <dgm:prSet/>
      <dgm:spPr/>
      <dgm:t>
        <a:bodyPr/>
        <a:lstStyle/>
        <a:p>
          <a:endParaRPr lang="en-US"/>
        </a:p>
      </dgm:t>
    </dgm:pt>
    <dgm:pt modelId="{5C4A9C5D-43C2-4E5A-9166-89BD522B5E30}">
      <dgm:prSet/>
      <dgm:spPr/>
      <dgm:t>
        <a:bodyPr/>
        <a:lstStyle/>
        <a:p>
          <a:endParaRPr lang="en-US" dirty="0"/>
        </a:p>
      </dgm:t>
    </dgm:pt>
    <dgm:pt modelId="{3FF353FA-2E42-46E2-9DDE-8094AC40A3DA}" type="parTrans" cxnId="{12411C8F-25B7-41B9-ADAA-3DEF25053C03}">
      <dgm:prSet/>
      <dgm:spPr/>
      <dgm:t>
        <a:bodyPr/>
        <a:lstStyle/>
        <a:p>
          <a:endParaRPr lang="en-US"/>
        </a:p>
      </dgm:t>
    </dgm:pt>
    <dgm:pt modelId="{A19920F3-8D07-4906-9FF6-6DC9D7877939}" type="sibTrans" cxnId="{12411C8F-25B7-41B9-ADAA-3DEF25053C03}">
      <dgm:prSet/>
      <dgm:spPr/>
      <dgm:t>
        <a:bodyPr/>
        <a:lstStyle/>
        <a:p>
          <a:endParaRPr lang="en-US"/>
        </a:p>
      </dgm:t>
    </dgm:pt>
    <dgm:pt modelId="{F8C140D8-EBD3-4B6F-B113-3BB158CAD82B}" type="pres">
      <dgm:prSet presAssocID="{5042A90F-12FE-4FD8-B84F-1E2B6F7717E7}" presName="linear" presStyleCnt="0">
        <dgm:presLayoutVars>
          <dgm:animLvl val="lvl"/>
          <dgm:resizeHandles val="exact"/>
        </dgm:presLayoutVars>
      </dgm:prSet>
      <dgm:spPr/>
    </dgm:pt>
    <dgm:pt modelId="{E494E39F-C567-4959-874A-EA28B2B87C3D}" type="pres">
      <dgm:prSet presAssocID="{DD513544-3ED2-446E-A9C6-F7B03193C50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75A4D74-D229-45F7-AAC5-416AB14A9160}" type="pres">
      <dgm:prSet presAssocID="{DD513544-3ED2-446E-A9C6-F7B03193C508}" presName="childText" presStyleLbl="revTx" presStyleIdx="0" presStyleCnt="3">
        <dgm:presLayoutVars>
          <dgm:bulletEnabled val="1"/>
        </dgm:presLayoutVars>
      </dgm:prSet>
      <dgm:spPr/>
    </dgm:pt>
    <dgm:pt modelId="{43D32DB9-C4F4-4309-B162-0346BAA55A4E}" type="pres">
      <dgm:prSet presAssocID="{400CFA67-6615-4ABE-AA2C-35A7F9B56148}" presName="parentText" presStyleLbl="node1" presStyleIdx="1" presStyleCnt="3">
        <dgm:presLayoutVars>
          <dgm:chMax val="0"/>
          <dgm:bulletEnabled val="1"/>
        </dgm:presLayoutVars>
      </dgm:prSet>
      <dgm:spPr>
        <a:xfrm>
          <a:off x="0" y="2106336"/>
          <a:ext cx="11112500" cy="623610"/>
        </a:xfrm>
        <a:prstGeom prst="roundRect">
          <a:avLst/>
        </a:prstGeom>
      </dgm:spPr>
    </dgm:pt>
    <dgm:pt modelId="{26880214-0FAE-4D37-99A2-D80291E8A73E}" type="pres">
      <dgm:prSet presAssocID="{400CFA67-6615-4ABE-AA2C-35A7F9B56148}" presName="childText" presStyleLbl="revTx" presStyleIdx="1" presStyleCnt="3">
        <dgm:presLayoutVars>
          <dgm:bulletEnabled val="1"/>
        </dgm:presLayoutVars>
      </dgm:prSet>
      <dgm:spPr/>
    </dgm:pt>
    <dgm:pt modelId="{2428E035-5702-4BD8-8002-FC7BF5AF3C61}" type="pres">
      <dgm:prSet presAssocID="{ED089FBB-76E3-4E45-B4F3-7D53BC44CD9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5C74DD5F-94AF-45A4-B2F2-A9BFA482F32F}" type="pres">
      <dgm:prSet presAssocID="{ED089FBB-76E3-4E45-B4F3-7D53BC44CD94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552FF309-3A56-4AEB-91AE-DAFCAA2CAB09}" type="presOf" srcId="{9475C381-A3A3-40C3-8549-4D8E2790C468}" destId="{26880214-0FAE-4D37-99A2-D80291E8A73E}" srcOrd="0" destOrd="2" presId="urn:microsoft.com/office/officeart/2005/8/layout/vList2"/>
    <dgm:cxn modelId="{4C93A416-8288-44DC-B73E-0F684E5397D4}" srcId="{400CFA67-6615-4ABE-AA2C-35A7F9B56148}" destId="{9529BC24-E31C-4C5E-8E23-DBC8111F3C7B}" srcOrd="0" destOrd="0" parTransId="{79AC9139-EC32-44F7-A99D-55BD4BF9DE2D}" sibTransId="{F06FA527-0B72-4B57-834F-6A702EEF3615}"/>
    <dgm:cxn modelId="{03C83D43-B92F-481F-9CB4-326938A67591}" srcId="{5042A90F-12FE-4FD8-B84F-1E2B6F7717E7}" destId="{ED089FBB-76E3-4E45-B4F3-7D53BC44CD94}" srcOrd="2" destOrd="0" parTransId="{3156F440-19CE-4A80-81F8-4E4A1081CD1F}" sibTransId="{A87EBE46-8423-46D1-9C7A-746EBA036181}"/>
    <dgm:cxn modelId="{C6E32C6B-C53D-45B8-BDB8-793B5110E0EC}" type="presOf" srcId="{FCE0A277-F78C-423C-9B21-CBB1BD8B0448}" destId="{B75A4D74-D229-45F7-AAC5-416AB14A9160}" srcOrd="0" destOrd="0" presId="urn:microsoft.com/office/officeart/2005/8/layout/vList2"/>
    <dgm:cxn modelId="{46FA2C70-A826-45DA-B016-1A22A71A9FB8}" type="presOf" srcId="{9529BC24-E31C-4C5E-8E23-DBC8111F3C7B}" destId="{26880214-0FAE-4D37-99A2-D80291E8A73E}" srcOrd="0" destOrd="0" presId="urn:microsoft.com/office/officeart/2005/8/layout/vList2"/>
    <dgm:cxn modelId="{8093FB78-024A-4413-B225-3A9AC75171EB}" srcId="{DD513544-3ED2-446E-A9C6-F7B03193C508}" destId="{FCE0A277-F78C-423C-9B21-CBB1BD8B0448}" srcOrd="0" destOrd="0" parTransId="{3A5F7B0B-A389-4E5D-BB00-C450F58169CA}" sibTransId="{92FFF989-1CDB-414D-B54C-F1491AD3650F}"/>
    <dgm:cxn modelId="{B0BCC08B-70EC-4C08-9D92-DE65119C22AE}" type="presOf" srcId="{400CFA67-6615-4ABE-AA2C-35A7F9B56148}" destId="{43D32DB9-C4F4-4309-B162-0346BAA55A4E}" srcOrd="0" destOrd="0" presId="urn:microsoft.com/office/officeart/2005/8/layout/vList2"/>
    <dgm:cxn modelId="{12411C8F-25B7-41B9-ADAA-3DEF25053C03}" srcId="{400CFA67-6615-4ABE-AA2C-35A7F9B56148}" destId="{5C4A9C5D-43C2-4E5A-9166-89BD522B5E30}" srcOrd="1" destOrd="0" parTransId="{3FF353FA-2E42-46E2-9DDE-8094AC40A3DA}" sibTransId="{A19920F3-8D07-4906-9FF6-6DC9D7877939}"/>
    <dgm:cxn modelId="{A9448D90-8B50-4150-97F9-17C37D2A81A4}" srcId="{5042A90F-12FE-4FD8-B84F-1E2B6F7717E7}" destId="{400CFA67-6615-4ABE-AA2C-35A7F9B56148}" srcOrd="1" destOrd="0" parTransId="{3D8CB750-83D8-4AE4-87E7-4C976F4740BA}" sibTransId="{62A2593C-1002-42C4-99EA-6D7A3648F12F}"/>
    <dgm:cxn modelId="{5E5AF5A3-3700-4844-98CA-BA2ECC10BA80}" type="presOf" srcId="{DD513544-3ED2-446E-A9C6-F7B03193C508}" destId="{E494E39F-C567-4959-874A-EA28B2B87C3D}" srcOrd="0" destOrd="0" presId="urn:microsoft.com/office/officeart/2005/8/layout/vList2"/>
    <dgm:cxn modelId="{2FC6F9AB-C7CB-4562-9163-A1971E6D49E5}" type="presOf" srcId="{5042A90F-12FE-4FD8-B84F-1E2B6F7717E7}" destId="{F8C140D8-EBD3-4B6F-B113-3BB158CAD82B}" srcOrd="0" destOrd="0" presId="urn:microsoft.com/office/officeart/2005/8/layout/vList2"/>
    <dgm:cxn modelId="{659CA8AC-9954-4969-8ED8-83DF95E960ED}" srcId="{400CFA67-6615-4ABE-AA2C-35A7F9B56148}" destId="{9401EFEB-1F05-421B-B3C5-3006DE653901}" srcOrd="3" destOrd="0" parTransId="{09BAB99C-8208-4F9A-94D0-8E1DAE99667D}" sibTransId="{35569CB7-D17D-47E8-9986-FEC740FD243F}"/>
    <dgm:cxn modelId="{5CA42BAD-241F-4113-AFA5-3A55F2860415}" srcId="{5042A90F-12FE-4FD8-B84F-1E2B6F7717E7}" destId="{DD513544-3ED2-446E-A9C6-F7B03193C508}" srcOrd="0" destOrd="0" parTransId="{5EAD168F-7A52-47A3-A7A7-26F0338C5A10}" sibTransId="{36BC28D8-64CC-4BC4-A11C-DC08C93AE893}"/>
    <dgm:cxn modelId="{5343D8BB-DB64-4292-9574-D0CCBB321C30}" type="presOf" srcId="{ED089FBB-76E3-4E45-B4F3-7D53BC44CD94}" destId="{2428E035-5702-4BD8-8002-FC7BF5AF3C61}" srcOrd="0" destOrd="0" presId="urn:microsoft.com/office/officeart/2005/8/layout/vList2"/>
    <dgm:cxn modelId="{E31760CA-EB5D-48A7-9E19-1DC2B425C7DD}" type="presOf" srcId="{E64C1F1F-2F3C-46F0-8579-758AA01AADD2}" destId="{5C74DD5F-94AF-45A4-B2F2-A9BFA482F32F}" srcOrd="0" destOrd="0" presId="urn:microsoft.com/office/officeart/2005/8/layout/vList2"/>
    <dgm:cxn modelId="{B08580E0-FBB3-4344-B6D0-CD74409EB1C6}" srcId="{ED089FBB-76E3-4E45-B4F3-7D53BC44CD94}" destId="{E64C1F1F-2F3C-46F0-8579-758AA01AADD2}" srcOrd="0" destOrd="0" parTransId="{3D898115-9530-4DA4-8D23-705ADA21A4F3}" sibTransId="{94D78153-3D1C-4225-BE31-E03ABD59126A}"/>
    <dgm:cxn modelId="{4B92EAE1-BF23-48C2-B9CE-0174425FEA68}" type="presOf" srcId="{5C4A9C5D-43C2-4E5A-9166-89BD522B5E30}" destId="{26880214-0FAE-4D37-99A2-D80291E8A73E}" srcOrd="0" destOrd="1" presId="urn:microsoft.com/office/officeart/2005/8/layout/vList2"/>
    <dgm:cxn modelId="{E6C296F5-D6A3-4F04-8BD9-36DCAF5227E5}" type="presOf" srcId="{9401EFEB-1F05-421B-B3C5-3006DE653901}" destId="{26880214-0FAE-4D37-99A2-D80291E8A73E}" srcOrd="0" destOrd="3" presId="urn:microsoft.com/office/officeart/2005/8/layout/vList2"/>
    <dgm:cxn modelId="{80DF46FD-65F6-4C62-8638-DF1E5B33C328}" srcId="{400CFA67-6615-4ABE-AA2C-35A7F9B56148}" destId="{9475C381-A3A3-40C3-8549-4D8E2790C468}" srcOrd="2" destOrd="0" parTransId="{0CA8493F-C82A-4852-8AC2-8DD05072429F}" sibTransId="{722337E8-3D4B-4C6F-A962-CB07A6B99D1C}"/>
    <dgm:cxn modelId="{C4476494-010D-43B0-9B43-9A27B0474541}" type="presParOf" srcId="{F8C140D8-EBD3-4B6F-B113-3BB158CAD82B}" destId="{E494E39F-C567-4959-874A-EA28B2B87C3D}" srcOrd="0" destOrd="0" presId="urn:microsoft.com/office/officeart/2005/8/layout/vList2"/>
    <dgm:cxn modelId="{FB3850DD-A245-4619-8098-2907B85A68ED}" type="presParOf" srcId="{F8C140D8-EBD3-4B6F-B113-3BB158CAD82B}" destId="{B75A4D74-D229-45F7-AAC5-416AB14A9160}" srcOrd="1" destOrd="0" presId="urn:microsoft.com/office/officeart/2005/8/layout/vList2"/>
    <dgm:cxn modelId="{6F0891E2-0107-498B-9F4D-A023037D41FE}" type="presParOf" srcId="{F8C140D8-EBD3-4B6F-B113-3BB158CAD82B}" destId="{43D32DB9-C4F4-4309-B162-0346BAA55A4E}" srcOrd="2" destOrd="0" presId="urn:microsoft.com/office/officeart/2005/8/layout/vList2"/>
    <dgm:cxn modelId="{0B6DCF6D-1CEE-44D0-BC4C-56C9D9876F1F}" type="presParOf" srcId="{F8C140D8-EBD3-4B6F-B113-3BB158CAD82B}" destId="{26880214-0FAE-4D37-99A2-D80291E8A73E}" srcOrd="3" destOrd="0" presId="urn:microsoft.com/office/officeart/2005/8/layout/vList2"/>
    <dgm:cxn modelId="{2E113782-93F6-4558-B025-8260C7E28737}" type="presParOf" srcId="{F8C140D8-EBD3-4B6F-B113-3BB158CAD82B}" destId="{2428E035-5702-4BD8-8002-FC7BF5AF3C61}" srcOrd="4" destOrd="0" presId="urn:microsoft.com/office/officeart/2005/8/layout/vList2"/>
    <dgm:cxn modelId="{6AD9A0BF-AA63-418A-B623-E7BAFBBCD4AB}" type="presParOf" srcId="{F8C140D8-EBD3-4B6F-B113-3BB158CAD82B}" destId="{5C74DD5F-94AF-45A4-B2F2-A9BFA482F32F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94E39F-C567-4959-874A-EA28B2B87C3D}">
      <dsp:nvSpPr>
        <dsp:cNvPr id="0" name=""/>
        <dsp:cNvSpPr/>
      </dsp:nvSpPr>
      <dsp:spPr>
        <a:xfrm>
          <a:off x="0" y="42456"/>
          <a:ext cx="11112500" cy="579149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Objective</a:t>
          </a:r>
          <a:endParaRPr lang="en-US" sz="2000" kern="1200" dirty="0"/>
        </a:p>
      </dsp:txBody>
      <dsp:txXfrm>
        <a:off x="28272" y="70728"/>
        <a:ext cx="11055956" cy="522605"/>
      </dsp:txXfrm>
    </dsp:sp>
    <dsp:sp modelId="{B75A4D74-D229-45F7-AAC5-416AB14A9160}">
      <dsp:nvSpPr>
        <dsp:cNvPr id="0" name=""/>
        <dsp:cNvSpPr/>
      </dsp:nvSpPr>
      <dsp:spPr>
        <a:xfrm>
          <a:off x="0" y="621606"/>
          <a:ext cx="11112500" cy="14593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b="0" i="0" kern="1200" dirty="0"/>
            <a:t>The goal of this project is to build a streaming data pipeline to </a:t>
          </a:r>
          <a:r>
            <a:rPr lang="en-US" sz="2300" b="1" i="0" kern="1200" dirty="0"/>
            <a:t>report on live TTC bus/streetcar information</a:t>
          </a:r>
          <a:r>
            <a:rPr lang="en-US" sz="2300" b="0" i="0" kern="1200" dirty="0"/>
            <a:t>. The final output of this project is an interactive PowerBI dashboard, which provides an overview of the route 7 Bathurst Street. 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300" kern="1200" dirty="0"/>
        </a:p>
      </dsp:txBody>
      <dsp:txXfrm>
        <a:off x="0" y="621606"/>
        <a:ext cx="11112500" cy="1459350"/>
      </dsp:txXfrm>
    </dsp:sp>
    <dsp:sp modelId="{43D32DB9-C4F4-4309-B162-0346BAA55A4E}">
      <dsp:nvSpPr>
        <dsp:cNvPr id="0" name=""/>
        <dsp:cNvSpPr/>
      </dsp:nvSpPr>
      <dsp:spPr>
        <a:xfrm>
          <a:off x="0" y="2080956"/>
          <a:ext cx="11112500" cy="579149"/>
        </a:xfrm>
        <a:prstGeom prst="roundRect">
          <a:avLst/>
        </a:prstGeom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otivation</a:t>
          </a:r>
          <a:endParaRPr lang="en-US" sz="2600" kern="1200" dirty="0"/>
        </a:p>
      </dsp:txBody>
      <dsp:txXfrm>
        <a:off x="28272" y="2109228"/>
        <a:ext cx="11055956" cy="522605"/>
      </dsp:txXfrm>
    </dsp:sp>
    <dsp:sp modelId="{26880214-0FAE-4D37-99A2-D80291E8A73E}">
      <dsp:nvSpPr>
        <dsp:cNvPr id="0" name=""/>
        <dsp:cNvSpPr/>
      </dsp:nvSpPr>
      <dsp:spPr>
        <a:xfrm>
          <a:off x="0" y="2660106"/>
          <a:ext cx="11112500" cy="1117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b="0" i="0" kern="1200" dirty="0"/>
            <a:t>The motivation of the project was based on an interest in learning different aspect of streaming data pipeline.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300" kern="1200" dirty="0"/>
        </a:p>
      </dsp:txBody>
      <dsp:txXfrm>
        <a:off x="0" y="2660106"/>
        <a:ext cx="11112500" cy="1117800"/>
      </dsp:txXfrm>
    </dsp:sp>
    <dsp:sp modelId="{2428E035-5702-4BD8-8002-FC7BF5AF3C61}">
      <dsp:nvSpPr>
        <dsp:cNvPr id="0" name=""/>
        <dsp:cNvSpPr/>
      </dsp:nvSpPr>
      <dsp:spPr>
        <a:xfrm>
          <a:off x="0" y="3777906"/>
          <a:ext cx="11112500" cy="579149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roject</a:t>
          </a:r>
          <a:r>
            <a:rPr lang="en-US" sz="2600" b="0" i="0" kern="1200" dirty="0"/>
            <a:t> </a:t>
          </a: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onsideration</a:t>
          </a:r>
          <a:endParaRPr lang="en-US" sz="2600" kern="1200" dirty="0"/>
        </a:p>
      </dsp:txBody>
      <dsp:txXfrm>
        <a:off x="28272" y="3806178"/>
        <a:ext cx="11055956" cy="522605"/>
      </dsp:txXfrm>
    </dsp:sp>
    <dsp:sp modelId="{5C74DD5F-94AF-45A4-B2F2-A9BFA482F32F}">
      <dsp:nvSpPr>
        <dsp:cNvPr id="0" name=""/>
        <dsp:cNvSpPr/>
      </dsp:nvSpPr>
      <dsp:spPr>
        <a:xfrm>
          <a:off x="0" y="4357056"/>
          <a:ext cx="11112500" cy="1055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b="0" i="0" kern="1200" dirty="0"/>
            <a:t>This project also provides an excellent opportunity to develop skills and experience in a range of tools. As such, the project is more complex than required, utilizing </a:t>
          </a:r>
          <a:r>
            <a:rPr lang="en-US" sz="2300" b="0" i="0" kern="1200" dirty="0" err="1"/>
            <a:t>nifi</a:t>
          </a:r>
          <a:r>
            <a:rPr lang="en-US" sz="2300" b="0" i="0" kern="1200" dirty="0"/>
            <a:t>, </a:t>
          </a:r>
          <a:r>
            <a:rPr lang="en-US" sz="2300" b="0" i="0" kern="1200" dirty="0" err="1"/>
            <a:t>mysql</a:t>
          </a:r>
          <a:r>
            <a:rPr lang="en-US" sz="2300" b="0" i="0" kern="1200" dirty="0"/>
            <a:t>, </a:t>
          </a:r>
          <a:r>
            <a:rPr lang="en-US" sz="2300" b="0" i="0" kern="1200" dirty="0" err="1"/>
            <a:t>debezium</a:t>
          </a:r>
          <a:r>
            <a:rPr lang="en-US" sz="2300" b="0" i="0" kern="1200" dirty="0"/>
            <a:t>, docker, and a series of AWS technology (S3, </a:t>
          </a:r>
          <a:r>
            <a:rPr lang="en-US" sz="2300" b="0" i="0" kern="1200" dirty="0" err="1"/>
            <a:t>MSK,EMR,Athena</a:t>
          </a:r>
          <a:r>
            <a:rPr lang="en-US" sz="2300" b="0" i="0" kern="1200" dirty="0"/>
            <a:t>).</a:t>
          </a:r>
          <a:endParaRPr lang="en-US" sz="2300" kern="1200" dirty="0"/>
        </a:p>
      </dsp:txBody>
      <dsp:txXfrm>
        <a:off x="0" y="4357056"/>
        <a:ext cx="11112500" cy="10557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94E39F-C567-4959-874A-EA28B2B87C3D}">
      <dsp:nvSpPr>
        <dsp:cNvPr id="0" name=""/>
        <dsp:cNvSpPr/>
      </dsp:nvSpPr>
      <dsp:spPr>
        <a:xfrm>
          <a:off x="0" y="73501"/>
          <a:ext cx="11112500" cy="561600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roductionalize the data pipeline</a:t>
          </a:r>
        </a:p>
      </dsp:txBody>
      <dsp:txXfrm>
        <a:off x="27415" y="100916"/>
        <a:ext cx="11057670" cy="506770"/>
      </dsp:txXfrm>
    </dsp:sp>
    <dsp:sp modelId="{B75A4D74-D229-45F7-AAC5-416AB14A9160}">
      <dsp:nvSpPr>
        <dsp:cNvPr id="0" name=""/>
        <dsp:cNvSpPr/>
      </dsp:nvSpPr>
      <dsp:spPr>
        <a:xfrm>
          <a:off x="0" y="635101"/>
          <a:ext cx="11112500" cy="7296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/>
            <a:t>Currently the NIFI and MYSQL both are both on an EC2 instance, we can use NIFI with EKS and MYSQL with RDS to allow for better scale.</a:t>
          </a:r>
        </a:p>
      </dsp:txBody>
      <dsp:txXfrm>
        <a:off x="0" y="635101"/>
        <a:ext cx="11112500" cy="729675"/>
      </dsp:txXfrm>
    </dsp:sp>
    <dsp:sp modelId="{43D32DB9-C4F4-4309-B162-0346BAA55A4E}">
      <dsp:nvSpPr>
        <dsp:cNvPr id="0" name=""/>
        <dsp:cNvSpPr/>
      </dsp:nvSpPr>
      <dsp:spPr>
        <a:xfrm>
          <a:off x="0" y="1364776"/>
          <a:ext cx="11112500" cy="561600"/>
        </a:xfrm>
        <a:prstGeom prst="roundRect">
          <a:avLst/>
        </a:prstGeom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mprove Dashboard Output</a:t>
          </a:r>
          <a:endParaRPr lang="en-US" sz="2600" kern="1200" dirty="0"/>
        </a:p>
      </dsp:txBody>
      <dsp:txXfrm>
        <a:off x="27415" y="1392191"/>
        <a:ext cx="11057670" cy="506770"/>
      </dsp:txXfrm>
    </dsp:sp>
    <dsp:sp modelId="{26880214-0FAE-4D37-99A2-D80291E8A73E}">
      <dsp:nvSpPr>
        <dsp:cNvPr id="0" name=""/>
        <dsp:cNvSpPr/>
      </dsp:nvSpPr>
      <dsp:spPr>
        <a:xfrm>
          <a:off x="0" y="1926376"/>
          <a:ext cx="11112500" cy="2235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/>
            <a:t>The PowerBI dashboard generated here is quite basic for demo purposes. One can greatly improve this dashboard.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/>
            <a:t>PowerBI have other interactive custom visuals that can improve the usefulness of the dashboard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300" kern="1200" dirty="0"/>
        </a:p>
      </dsp:txBody>
      <dsp:txXfrm>
        <a:off x="0" y="1926376"/>
        <a:ext cx="11112500" cy="2235600"/>
      </dsp:txXfrm>
    </dsp:sp>
    <dsp:sp modelId="{2428E035-5702-4BD8-8002-FC7BF5AF3C61}">
      <dsp:nvSpPr>
        <dsp:cNvPr id="0" name=""/>
        <dsp:cNvSpPr/>
      </dsp:nvSpPr>
      <dsp:spPr>
        <a:xfrm>
          <a:off x="0" y="4161976"/>
          <a:ext cx="11112500" cy="561600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esting</a:t>
          </a:r>
          <a:endParaRPr lang="en-US" sz="2600" kern="1200" dirty="0"/>
        </a:p>
      </dsp:txBody>
      <dsp:txXfrm>
        <a:off x="27415" y="4189391"/>
        <a:ext cx="11057670" cy="506770"/>
      </dsp:txXfrm>
    </dsp:sp>
    <dsp:sp modelId="{5C74DD5F-94AF-45A4-B2F2-A9BFA482F32F}">
      <dsp:nvSpPr>
        <dsp:cNvPr id="0" name=""/>
        <dsp:cNvSpPr/>
      </dsp:nvSpPr>
      <dsp:spPr>
        <a:xfrm>
          <a:off x="0" y="4723576"/>
          <a:ext cx="11112500" cy="1055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/>
            <a:t>The data pipeline currently does not use any framework to test and validate the data. One can implement a testing framework to improve data quality and pipeline transparency. </a:t>
          </a:r>
        </a:p>
      </dsp:txBody>
      <dsp:txXfrm>
        <a:off x="0" y="4723576"/>
        <a:ext cx="11112500" cy="10557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9CF43B-EE54-4CF1-B34E-DC5B6DB34A33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C5C05E-5DCF-416F-98E4-9AF9E697A8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45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y everyone, the purpose of this project is to demo and explain my LinkedIn Batch ETL Proje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5C05E-5DCF-416F-98E4-9AF9E697A86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078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5C05E-5DCF-416F-98E4-9AF9E697A86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946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5C05E-5DCF-416F-98E4-9AF9E697A86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767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5C05E-5DCF-416F-98E4-9AF9E697A86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66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8FC75-D5DF-41E0-94A6-156F6CEB27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3DD850-1ECC-4D38-A2FB-FC4C472C97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8BBB6-055F-4160-9C74-202B4D9EA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A7DB5-72F0-4EE3-8E6E-0C7C3E22E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E621C4-4636-44A7-A2B6-28F1444DD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466452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5385C-B545-4F38-8731-FBE319506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A2F570-620A-40BF-90E3-929AD6DC4C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A8B52D-DCB6-4EF6-9FAF-22DE39DDE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472BD2-CAA9-40F8-A0CA-C41BE7F57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C7FCA7-DC77-4031-981E-42EF54E93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4585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568871-9616-40CC-B7B2-37BB4E6D73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985165-7888-4EB2-8CF0-A6111EF635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0F46B6-4E36-4678-A8F5-1F7691A3C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22C1BC-734B-48FB-A12D-C087866AA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8A3981-DA5E-4672-BD2D-EAD00F16C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585609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4455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F881C5-C505-49CA-B2FB-D2D5F9B99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63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F881C5-C505-49CA-B2FB-D2D5F9B99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600" y="402587"/>
            <a:ext cx="11112500" cy="359414"/>
          </a:xfrm>
        </p:spPr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FAC28C4E-A36D-4F43-89F0-D142698E80B4}"/>
              </a:ext>
            </a:extLst>
          </p:cNvPr>
          <p:cNvSpPr/>
          <p:nvPr userDrawn="1"/>
        </p:nvSpPr>
        <p:spPr>
          <a:xfrm>
            <a:off x="623316" y="762000"/>
            <a:ext cx="10958830" cy="0"/>
          </a:xfrm>
          <a:custGeom>
            <a:avLst/>
            <a:gdLst/>
            <a:ahLst/>
            <a:cxnLst/>
            <a:rect l="l" t="t" r="r" b="b"/>
            <a:pathLst>
              <a:path w="10958830">
                <a:moveTo>
                  <a:pt x="0" y="0"/>
                </a:moveTo>
                <a:lnTo>
                  <a:pt x="10958322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E5476226-A6C5-40B0-B074-7F238F0CE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316" y="762000"/>
            <a:ext cx="11098784" cy="523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kern="0" noProof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 defTabSz="91440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51689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D22400-C385-284E-AAA5-73F5A10DA9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F2AC4E3-C134-5E47-A774-55520AA78E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812" y="347756"/>
            <a:ext cx="6672249" cy="39357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ministry nam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3060" y="747225"/>
            <a:ext cx="6672000" cy="1667984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3060" y="2505809"/>
            <a:ext cx="6672000" cy="242667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854175-F1B1-7D4F-A73B-91105A852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5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Supply Ontario logo">
            <a:extLst>
              <a:ext uri="{FF2B5EF4-FFF2-40B4-BE49-F238E27FC236}">
                <a16:creationId xmlns:a16="http://schemas.microsoft.com/office/drawing/2014/main" id="{A34E1BC1-0879-4472-BD21-BD2106C61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474" t="20520" r="39302" b="20507"/>
          <a:stretch/>
        </p:blipFill>
        <p:spPr>
          <a:xfrm>
            <a:off x="10021078" y="5960597"/>
            <a:ext cx="1865023" cy="68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45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062" y="2029618"/>
            <a:ext cx="11275645" cy="390547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  <a:defRPr sz="1800"/>
            </a:lvl1pPr>
            <a:lvl2pPr marL="685800" indent="-228600">
              <a:buClr>
                <a:schemeClr val="accent3"/>
              </a:buClr>
              <a:buSzPct val="75000"/>
              <a:buFont typeface="Calibri" panose="020F0502020204030204" pitchFamily="34" charset="0"/>
              <a:buChar char="—"/>
              <a:defRPr sz="1800"/>
            </a:lvl2pPr>
            <a:lvl3pPr marL="1143000" indent="-2286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3pPr>
            <a:lvl4pPr marL="1600200" indent="-228600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3"/>
              </a:buClr>
              <a:buSzPct val="75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AFB0C2-B125-9F48-90CE-0FB88C8BDF9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5383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063" y="2055909"/>
            <a:ext cx="5157787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3063" y="2611121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Tx/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55519" y="2055909"/>
            <a:ext cx="5183188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25CEF6D-49F9-4C3C-9DD4-B1081528CE2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68219" y="2599513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B0F4118-F5F8-4129-AFCC-2DACF8743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B17FEA8-7BC5-4BFD-8E93-89F2D2C7911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4132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365127"/>
            <a:ext cx="11275647" cy="92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B07D30F-7153-6C40-9FCD-11F5850C0B4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0" y="1366837"/>
            <a:ext cx="8400000" cy="3238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heading</a:t>
            </a:r>
          </a:p>
        </p:txBody>
      </p:sp>
    </p:spTree>
    <p:extLst>
      <p:ext uri="{BB962C8B-B14F-4D97-AF65-F5344CB8AC3E}">
        <p14:creationId xmlns:p14="http://schemas.microsoft.com/office/powerpoint/2010/main" val="40278284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CA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7415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 noProof="0"/>
              <a:t>Click to edit Master title style</a:t>
            </a:r>
          </a:p>
          <a:p>
            <a:pPr lvl="1"/>
            <a:r>
              <a:rPr lang="en-CA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55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74D56-5DD7-474D-8381-D10615AA9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1CA8BE-C1CA-4507-A47F-B9758B203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7898E-3A41-48C2-95C5-A1DE401A20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DB2004-5912-4630-9CAD-8F1B7D46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2C398-3348-4AD4-B145-6F915CD2B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00250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CA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045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CA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4741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929403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516088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3033708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4224702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502808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437958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37350866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77558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3E98B9-9C8A-4F43-ABB2-0AD49CF22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75697-4F3A-49DB-AA4F-6FA6EEC682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570A33-B64A-4BE0-840B-A935781D2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FF028-6FD0-4EA4-A035-066A6D27E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C14D7D-1234-403B-BD7F-4F6922F82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FEA730-3CEA-4FFC-A3E9-15D63F3F4B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4622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1750969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2427435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141544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1928972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238873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1113697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2375790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2218082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2291365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99270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C2FF9-C861-4385-AEAC-AE3DCAAE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D93B2D-B18E-4644-931E-55A72F764B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F751A-232A-4FE7-9D21-381ED7BFC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578D0B-0B44-47C4-AC3B-A76186D18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D47EB4-A753-4684-B720-4567D5D4E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C9AE85-DAE3-4F25-8A3D-D993DC410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51606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7682478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4815550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9567779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6169495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7722974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5374362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6015937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8941333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0273358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833715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50F12-1756-43C8-AB4D-271DA74B2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795F26-0B93-4107-803F-FEFE8D2E1C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F10C20-F59F-4433-BD75-7A6E296F0C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6725A3-BF0A-472A-BF6F-0ED643FE3D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26C4CC-7231-43DA-94E4-F11A21B301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EC4DCF-2AEB-4D9A-AB3A-70EC0797D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3D033-9000-4600-9823-01E59B032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01B1EA-E9F0-4208-97B9-B24C992C0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321424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1522546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Rectangle 11"/>
          <p:cNvSpPr/>
          <p:nvPr userDrawn="1"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3324737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542977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7305987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35167835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6992378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2920877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8686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F881C5-C505-49CA-B2FB-D2D5F9B99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728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F881C5-C505-49CA-B2FB-D2D5F9B99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600" y="402587"/>
            <a:ext cx="11112500" cy="359414"/>
          </a:xfrm>
        </p:spPr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FAC28C4E-A36D-4F43-89F0-D142698E80B4}"/>
              </a:ext>
            </a:extLst>
          </p:cNvPr>
          <p:cNvSpPr/>
          <p:nvPr userDrawn="1"/>
        </p:nvSpPr>
        <p:spPr>
          <a:xfrm>
            <a:off x="623316" y="762000"/>
            <a:ext cx="10958830" cy="0"/>
          </a:xfrm>
          <a:custGeom>
            <a:avLst/>
            <a:gdLst/>
            <a:ahLst/>
            <a:cxnLst/>
            <a:rect l="l" t="t" r="r" b="b"/>
            <a:pathLst>
              <a:path w="10958830">
                <a:moveTo>
                  <a:pt x="0" y="0"/>
                </a:moveTo>
                <a:lnTo>
                  <a:pt x="10958322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E5476226-A6C5-40B0-B074-7F238F0CE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316" y="762000"/>
            <a:ext cx="11098784" cy="523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kern="0" noProof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 defTabSz="91440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147123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D22400-C385-284E-AAA5-73F5A10DA9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F2AC4E3-C134-5E47-A774-55520AA78E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812" y="347756"/>
            <a:ext cx="6672249" cy="39357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ministry nam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3060" y="747225"/>
            <a:ext cx="6672000" cy="1667984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3060" y="2505809"/>
            <a:ext cx="6672000" cy="242667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854175-F1B1-7D4F-A73B-91105A852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5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Supply Ontario logo">
            <a:extLst>
              <a:ext uri="{FF2B5EF4-FFF2-40B4-BE49-F238E27FC236}">
                <a16:creationId xmlns:a16="http://schemas.microsoft.com/office/drawing/2014/main" id="{A34E1BC1-0879-4472-BD21-BD2106C61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474" t="20520" r="39302" b="20507"/>
          <a:stretch/>
        </p:blipFill>
        <p:spPr>
          <a:xfrm>
            <a:off x="10021078" y="5960597"/>
            <a:ext cx="1865023" cy="68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11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7045B-9F65-46AD-998C-C188760EA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53FE65-FA1C-490A-8CEB-304B179AA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C982E7-49F8-49F3-AD0A-CEDD2808C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B2E16-5778-454F-80AD-ECBC09F25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54076"/>
      </p:ext>
    </p:extLst>
  </p:cSld>
  <p:clrMapOvr>
    <a:masterClrMapping/>
  </p:clrMapOvr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062" y="2029618"/>
            <a:ext cx="11275645" cy="390547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  <a:defRPr sz="1800"/>
            </a:lvl1pPr>
            <a:lvl2pPr marL="685800" indent="-228600">
              <a:buClr>
                <a:schemeClr val="accent3"/>
              </a:buClr>
              <a:buSzPct val="75000"/>
              <a:buFont typeface="Calibri" panose="020F0502020204030204" pitchFamily="34" charset="0"/>
              <a:buChar char="—"/>
              <a:defRPr sz="1800"/>
            </a:lvl2pPr>
            <a:lvl3pPr marL="1143000" indent="-2286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3pPr>
            <a:lvl4pPr marL="1600200" indent="-228600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3"/>
              </a:buClr>
              <a:buSzPct val="75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AFB0C2-B125-9F48-90CE-0FB88C8BDF9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6015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063" y="2055909"/>
            <a:ext cx="5157787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3063" y="2611121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Tx/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55519" y="2055909"/>
            <a:ext cx="5183188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25CEF6D-49F9-4C3C-9DD4-B1081528CE2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68219" y="2599513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B0F4118-F5F8-4129-AFCC-2DACF8743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B17FEA8-7BC5-4BFD-8E93-89F2D2C7911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81284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365127"/>
            <a:ext cx="11275647" cy="92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B07D30F-7153-6C40-9FCD-11F5850C0B4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0" y="1366837"/>
            <a:ext cx="8400000" cy="3238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heading</a:t>
            </a:r>
          </a:p>
        </p:txBody>
      </p:sp>
    </p:spTree>
    <p:extLst>
      <p:ext uri="{BB962C8B-B14F-4D97-AF65-F5344CB8AC3E}">
        <p14:creationId xmlns:p14="http://schemas.microsoft.com/office/powerpoint/2010/main" val="468530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76BCC8-6C93-441F-947A-CC42A2C54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F37EB9-5C44-49F6-8478-04E5420EC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A71358-5DC4-4D72-A944-27962DD89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51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E4965-BFB2-4201-BE52-926C39F9C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BB098F-3340-40BD-B113-15E80EAEAE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0F0DB9-620F-4603-BBD4-A57A760B8C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A490E4-A029-4150-82F9-0347A5DB4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92C4EF-FF56-4A99-9CFC-370782AEF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3677D6-5FE5-479F-A6E1-34FFB63F5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813435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840647-AE02-457B-9377-EB496C9CB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3BC2AA-329A-4C34-A96D-B03820654B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BC6B1-19B9-4424-B9F3-D66AF08203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2D52A5-0C5B-4795-9D84-87CF4F78E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EAF271-8672-4F02-ABDA-8081471E1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049EA-967B-4BAB-83BD-84159734A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464508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9C1770-183E-4199-852A-44D9E0410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6D547-5146-4BF5-820B-4653C2C16E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1F86B6-F684-4D8A-98CF-231CD3FEE9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6DFCA-66C2-416E-945A-2F2DAA093F19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5ADCBC-FD20-4B32-9955-D7FC51A06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A3341F-6C1D-4FF6-86EF-E62E1D5F5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86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704" r:id="rId14"/>
    <p:sldLayoutId id="2147483705" r:id="rId15"/>
    <p:sldLayoutId id="2147483709" r:id="rId16"/>
    <p:sldLayoutId id="2147483710" r:id="rId17"/>
    <p:sldLayoutId id="2147483661" r:id="rId18"/>
    <p:sldLayoutId id="2147483662" r:id="rId19"/>
    <p:sldLayoutId id="2147483663" r:id="rId20"/>
    <p:sldLayoutId id="2147483664" r:id="rId21"/>
    <p:sldLayoutId id="2147483665" r:id="rId22"/>
    <p:sldLayoutId id="2147483666" r:id="rId23"/>
    <p:sldLayoutId id="2147483667" r:id="rId24"/>
    <p:sldLayoutId id="2147483668" r:id="rId25"/>
    <p:sldLayoutId id="2147483669" r:id="rId26"/>
    <p:sldLayoutId id="2147483670" r:id="rId27"/>
    <p:sldLayoutId id="2147483671" r:id="rId28"/>
    <p:sldLayoutId id="2147483672" r:id="rId29"/>
    <p:sldLayoutId id="2147483673" r:id="rId30"/>
    <p:sldLayoutId id="2147483674" r:id="rId31"/>
    <p:sldLayoutId id="2147483675" r:id="rId32"/>
    <p:sldLayoutId id="2147483676" r:id="rId33"/>
    <p:sldLayoutId id="2147483677" r:id="rId34"/>
    <p:sldLayoutId id="2147483678" r:id="rId35"/>
    <p:sldLayoutId id="2147483679" r:id="rId36"/>
    <p:sldLayoutId id="2147483680" r:id="rId37"/>
    <p:sldLayoutId id="2147483681" r:id="rId38"/>
    <p:sldLayoutId id="2147483682" r:id="rId39"/>
    <p:sldLayoutId id="2147483683" r:id="rId40"/>
    <p:sldLayoutId id="2147483684" r:id="rId41"/>
    <p:sldLayoutId id="2147483685" r:id="rId42"/>
    <p:sldLayoutId id="2147483686" r:id="rId43"/>
    <p:sldLayoutId id="2147483687" r:id="rId44"/>
    <p:sldLayoutId id="2147483688" r:id="rId45"/>
    <p:sldLayoutId id="2147483689" r:id="rId46"/>
    <p:sldLayoutId id="2147483690" r:id="rId47"/>
    <p:sldLayoutId id="2147483691" r:id="rId48"/>
    <p:sldLayoutId id="2147483692" r:id="rId49"/>
    <p:sldLayoutId id="2147483693" r:id="rId50"/>
    <p:sldLayoutId id="2147483694" r:id="rId51"/>
    <p:sldLayoutId id="2147483695" r:id="rId52"/>
    <p:sldLayoutId id="2147483696" r:id="rId53"/>
    <p:sldLayoutId id="2147483697" r:id="rId54"/>
    <p:sldLayoutId id="2147483698" r:id="rId55"/>
    <p:sldLayoutId id="2147483699" r:id="rId56"/>
    <p:sldLayoutId id="2147483700" r:id="rId57"/>
    <p:sldLayoutId id="2147483876" r:id="rId58"/>
    <p:sldLayoutId id="2147483744" r:id="rId59"/>
    <p:sldLayoutId id="2147483745" r:id="rId60"/>
    <p:sldLayoutId id="2147483749" r:id="rId61"/>
    <p:sldLayoutId id="2147483750" r:id="rId6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17CD2C9-81C0-430E-9EFD-EDFA0861E223}"/>
              </a:ext>
            </a:extLst>
          </p:cNvPr>
          <p:cNvSpPr txBox="1">
            <a:spLocks/>
          </p:cNvSpPr>
          <p:nvPr/>
        </p:nvSpPr>
        <p:spPr>
          <a:xfrm>
            <a:off x="501651" y="5912505"/>
            <a:ext cx="7049523" cy="5726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Segoe UI"/>
                <a:cs typeface="Segoe UI"/>
              </a:rPr>
              <a:t>Andi A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August 10, 2022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075BF7A9-326A-4B8D-9F4C-B882EF07B74E}"/>
              </a:ext>
            </a:extLst>
          </p:cNvPr>
          <p:cNvSpPr txBox="1">
            <a:spLocks/>
          </p:cNvSpPr>
          <p:nvPr/>
        </p:nvSpPr>
        <p:spPr bwMode="gray">
          <a:xfrm>
            <a:off x="501649" y="5016522"/>
            <a:ext cx="5271077" cy="8959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reaming Project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57747605-FF1E-4412-8B48-7C1E5B0E46C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358" y="0"/>
            <a:ext cx="7287642" cy="638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577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4ECE0-1567-4C90-8E0C-D01110472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Agenda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BC7DCD-C68A-43A4-9F49-D053BD030208}"/>
              </a:ext>
            </a:extLst>
          </p:cNvPr>
          <p:cNvSpPr txBox="1"/>
          <p:nvPr/>
        </p:nvSpPr>
        <p:spPr>
          <a:xfrm>
            <a:off x="606725" y="1739183"/>
            <a:ext cx="5572402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Segoe UI"/>
              </a:rPr>
              <a:t>Objectives </a:t>
            </a:r>
            <a:r>
              <a:rPr lang="en-US" sz="1400" dirty="0">
                <a:solidFill>
                  <a:prstClr val="black"/>
                </a:solidFill>
                <a:latin typeface="Segoe UI"/>
              </a:rPr>
              <a:t>are to:  </a:t>
            </a:r>
            <a:endParaRPr lang="en-US" sz="1400" dirty="0">
              <a:solidFill>
                <a:prstClr val="black"/>
              </a:solidFill>
              <a:latin typeface="Segoe UI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Introduce the project architectur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Demonstrate functionaliti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Review the potential future improvement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92E1B6A-3D47-4881-942F-9291B7B47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828450"/>
              </p:ext>
            </p:extLst>
          </p:nvPr>
        </p:nvGraphicFramePr>
        <p:xfrm>
          <a:off x="6834332" y="1537791"/>
          <a:ext cx="4750943" cy="3391465"/>
        </p:xfrm>
        <a:graphic>
          <a:graphicData uri="http://schemas.openxmlformats.org/drawingml/2006/table">
            <a:tbl>
              <a:tblPr firstRow="1" bandRow="1"/>
              <a:tblGrid>
                <a:gridCol w="3599749">
                  <a:extLst>
                    <a:ext uri="{9D8B030D-6E8A-4147-A177-3AD203B41FA5}">
                      <a16:colId xmlns:a16="http://schemas.microsoft.com/office/drawing/2014/main" val="996094622"/>
                    </a:ext>
                  </a:extLst>
                </a:gridCol>
                <a:gridCol w="1151194">
                  <a:extLst>
                    <a:ext uri="{9D8B030D-6E8A-4147-A177-3AD203B41FA5}">
                      <a16:colId xmlns:a16="http://schemas.microsoft.com/office/drawing/2014/main" val="438985368"/>
                    </a:ext>
                  </a:extLst>
                </a:gridCol>
              </a:tblGrid>
              <a:tr h="5132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ey Topics</a:t>
                      </a:r>
                      <a:endParaRPr lang="en-US" sz="140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uration</a:t>
                      </a:r>
                      <a:endParaRPr lang="en-US" sz="140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1659660"/>
                  </a:ext>
                </a:extLst>
              </a:tr>
              <a:tr h="7195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2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3602882"/>
                  </a:ext>
                </a:extLst>
              </a:tr>
              <a:tr h="71954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Architectur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5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4012401"/>
                  </a:ext>
                </a:extLst>
              </a:tr>
              <a:tr h="71954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Dem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5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841591"/>
                  </a:ext>
                </a:extLst>
              </a:tr>
              <a:tr h="7195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Future Improvement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3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908613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02FCD15-3197-4FE7-84B8-5E36F1DE8D90}"/>
              </a:ext>
            </a:extLst>
          </p:cNvPr>
          <p:cNvSpPr txBox="1"/>
          <p:nvPr/>
        </p:nvSpPr>
        <p:spPr>
          <a:xfrm>
            <a:off x="606725" y="3730134"/>
            <a:ext cx="43667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red outcomes</a:t>
            </a: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re to: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howcase the project</a:t>
            </a:r>
          </a:p>
        </p:txBody>
      </p:sp>
    </p:spTree>
    <p:extLst>
      <p:ext uri="{BB962C8B-B14F-4D97-AF65-F5344CB8AC3E}">
        <p14:creationId xmlns:p14="http://schemas.microsoft.com/office/powerpoint/2010/main" val="38667611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0A0B4-2229-4C46-A8D0-33E53201C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baseline="0" dirty="0">
                <a:solidFill>
                  <a:schemeClr val="tx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Introduction</a:t>
            </a:r>
            <a:endParaRPr lang="en-US" dirty="0"/>
          </a:p>
        </p:txBody>
      </p:sp>
      <p:graphicFrame>
        <p:nvGraphicFramePr>
          <p:cNvPr id="9" name="TextBox 6">
            <a:extLst>
              <a:ext uri="{FF2B5EF4-FFF2-40B4-BE49-F238E27FC236}">
                <a16:creationId xmlns:a16="http://schemas.microsoft.com/office/drawing/2014/main" id="{5E3D830E-6E71-A235-5C51-C9549D7F97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1890284"/>
              </p:ext>
            </p:extLst>
          </p:nvPr>
        </p:nvGraphicFramePr>
        <p:xfrm>
          <a:off x="609600" y="846196"/>
          <a:ext cx="11112500" cy="5455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6002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B7C6E-1103-4082-BA6C-D15891AAD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 </a:t>
            </a:r>
            <a:r>
              <a:rPr lang="en-US" sz="2400" b="0" baseline="0" dirty="0">
                <a:solidFill>
                  <a:schemeClr val="tx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Architectur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09CE4E-FF4C-4D88-92A4-859271B57755}"/>
              </a:ext>
            </a:extLst>
          </p:cNvPr>
          <p:cNvSpPr/>
          <p:nvPr/>
        </p:nvSpPr>
        <p:spPr>
          <a:xfrm>
            <a:off x="7156174" y="805071"/>
            <a:ext cx="4949687" cy="59734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/>
          <a:lstStyle/>
          <a:p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onents</a:t>
            </a: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ata 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he architecture of this project is designed to be run continuously streaming API data of TTC bus and streetcar into S3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urrently, the data source is </a:t>
            </a:r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blic API that report on the </a:t>
            </a:r>
            <a:r>
              <a:rPr lang="en-US" sz="1200" dirty="0" err="1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t</a:t>
            </a:r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long of TTC buses on the Bathurst route.</a:t>
            </a: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gestion and C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gestion is completed using NIFI via docker container. Data is ingested into MYSQL database as an append only table.</a:t>
            </a: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ebezium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s used to perform change data capture on the MYSQL table, data is streaming into a topic on a managed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kafka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service cluster on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ws</a:t>
            </a: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Processing and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park </a:t>
            </a:r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uctured streaming is used to c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onsume the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kafka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topic and transform the data as it arriv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ata is then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pserted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nto a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hudi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table on S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24292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mpute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C2 is used to host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nifi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,MySQL and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ebezium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connect via doc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SK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s used to support the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ebezium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CDC process, the topic is then consumed via EM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thena are used as the compute engine which powers the dashboar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isualization - PowerBI is used for dashboard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CA" sz="1100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BC3EA41-4BEE-4998-8F59-7792240090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250" y="849144"/>
            <a:ext cx="6477878" cy="5673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539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B7C6E-1103-4082-BA6C-D15891AAD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Live Dem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61FE0C-3758-43DB-BC64-CFCDF33D5A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2574" y="980210"/>
            <a:ext cx="8186852" cy="5548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288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0A0B4-2229-4C46-A8D0-33E53201C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baseline="0" dirty="0">
                <a:solidFill>
                  <a:schemeClr val="tx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Future Improvements</a:t>
            </a:r>
            <a:endParaRPr lang="en-US" dirty="0"/>
          </a:p>
        </p:txBody>
      </p:sp>
      <p:graphicFrame>
        <p:nvGraphicFramePr>
          <p:cNvPr id="9" name="TextBox 6">
            <a:extLst>
              <a:ext uri="{FF2B5EF4-FFF2-40B4-BE49-F238E27FC236}">
                <a16:creationId xmlns:a16="http://schemas.microsoft.com/office/drawing/2014/main" id="{5E3D830E-6E71-A235-5C51-C9549D7F97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7152635"/>
              </p:ext>
            </p:extLst>
          </p:nvPr>
        </p:nvGraphicFramePr>
        <p:xfrm>
          <a:off x="609600" y="846196"/>
          <a:ext cx="11112500" cy="58527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27512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aefe8d5-3499-406a-a648-7fe95c2ce70b">
      <UserInfo>
        <DisplayName>Vasan, Ragav</DisplayName>
        <AccountId>11</AccountId>
        <AccountType/>
      </UserInfo>
      <UserInfo>
        <DisplayName>Trikha, Mrinal</DisplayName>
        <AccountId>15</AccountId>
        <AccountType/>
      </UserInfo>
      <UserInfo>
        <DisplayName>Bhalla, Tushar</DisplayName>
        <AccountId>16</AccountId>
        <AccountType/>
      </UserInfo>
      <UserInfo>
        <DisplayName>An, Andi</DisplayName>
        <AccountId>20</AccountId>
        <AccountType/>
      </UserInfo>
      <UserInfo>
        <DisplayName>Saini, Manjot</DisplayName>
        <AccountId>18</AccountId>
        <AccountType/>
      </UserInfo>
      <UserInfo>
        <DisplayName>Pais, Hansley</DisplayName>
        <AccountId>1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40C01A5EA631499744D85546F7B6B1" ma:contentTypeVersion="6" ma:contentTypeDescription="Create a new document." ma:contentTypeScope="" ma:versionID="c30dcc77fc12a48f7f89dc44f4c7a4c7">
  <xsd:schema xmlns:xsd="http://www.w3.org/2001/XMLSchema" xmlns:xs="http://www.w3.org/2001/XMLSchema" xmlns:p="http://schemas.microsoft.com/office/2006/metadata/properties" xmlns:ns2="fa071bbc-0d41-4bea-addd-740cf918ef45" xmlns:ns3="eaefe8d5-3499-406a-a648-7fe95c2ce70b" targetNamespace="http://schemas.microsoft.com/office/2006/metadata/properties" ma:root="true" ma:fieldsID="0117a1eef0c7271b37a4f6711e4dfc50" ns2:_="" ns3:_="">
    <xsd:import namespace="fa071bbc-0d41-4bea-addd-740cf918ef45"/>
    <xsd:import namespace="eaefe8d5-3499-406a-a648-7fe95c2ce7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071bbc-0d41-4bea-addd-740cf918ef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efe8d5-3499-406a-a648-7fe95c2ce7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0A8C544-126E-4B8F-9B67-BDCEE1929D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83A877D-3824-4238-A744-EA5E598B0792}">
  <ds:schemaRefs>
    <ds:schemaRef ds:uri="eaefe8d5-3499-406a-a648-7fe95c2ce70b"/>
    <ds:schemaRef ds:uri="fa071bbc-0d41-4bea-addd-740cf918ef4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7586C80-58A6-447F-83DC-1E7CB05F780D}">
  <ds:schemaRefs>
    <ds:schemaRef ds:uri="eaefe8d5-3499-406a-a648-7fe95c2ce70b"/>
    <ds:schemaRef ds:uri="fa071bbc-0d41-4bea-addd-740cf918ef4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</TotalTime>
  <Words>481</Words>
  <Application>Microsoft Office PowerPoint</Application>
  <PresentationFormat>Widescreen</PresentationFormat>
  <Paragraphs>65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Courier New</vt:lpstr>
      <vt:lpstr>Segoe UI</vt:lpstr>
      <vt:lpstr>Verdana</vt:lpstr>
      <vt:lpstr>Wingdings</vt:lpstr>
      <vt:lpstr>Office Theme</vt:lpstr>
      <vt:lpstr>think-cell Slide</vt:lpstr>
      <vt:lpstr>PowerPoint Presentation</vt:lpstr>
      <vt:lpstr>Agenda</vt:lpstr>
      <vt:lpstr>Introduction</vt:lpstr>
      <vt:lpstr>Pipeline Architecture</vt:lpstr>
      <vt:lpstr>Live Demo</vt:lpstr>
      <vt:lpstr>Future Improv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san, Ragav (CA - Toronto)</dc:creator>
  <cp:lastModifiedBy>An, Andi</cp:lastModifiedBy>
  <cp:revision>1</cp:revision>
  <dcterms:created xsi:type="dcterms:W3CDTF">2022-04-25T03:08:46Z</dcterms:created>
  <dcterms:modified xsi:type="dcterms:W3CDTF">2022-08-10T21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4-25T03:08:4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4101fda-1d34-4a9f-8940-875185a5cd01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C740C01A5EA631499744D85546F7B6B1</vt:lpwstr>
  </property>
  <property fmtid="{D5CDD505-2E9C-101B-9397-08002B2CF9AE}" pid="10" name="Language">
    <vt:lpwstr>EnglishUS</vt:lpwstr>
  </property>
</Properties>
</file>